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718" r:id="rId2"/>
    <p:sldMasterId id="2147483702" r:id="rId3"/>
  </p:sldMasterIdLst>
  <p:notesMasterIdLst>
    <p:notesMasterId r:id="rId49"/>
  </p:notesMasterIdLst>
  <p:handoutMasterIdLst>
    <p:handoutMasterId r:id="rId50"/>
  </p:handoutMasterIdLst>
  <p:sldIdLst>
    <p:sldId id="592" r:id="rId4"/>
    <p:sldId id="2146848454" r:id="rId5"/>
    <p:sldId id="2146848477" r:id="rId6"/>
    <p:sldId id="2146848478" r:id="rId7"/>
    <p:sldId id="2146848479" r:id="rId8"/>
    <p:sldId id="2146848480" r:id="rId9"/>
    <p:sldId id="262" r:id="rId10"/>
    <p:sldId id="263" r:id="rId11"/>
    <p:sldId id="264" r:id="rId12"/>
    <p:sldId id="2146848481" r:id="rId13"/>
    <p:sldId id="266" r:id="rId14"/>
    <p:sldId id="267" r:id="rId15"/>
    <p:sldId id="2146848483" r:id="rId16"/>
    <p:sldId id="269" r:id="rId17"/>
    <p:sldId id="2146848482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1" r:id="rId39"/>
    <p:sldId id="292" r:id="rId40"/>
    <p:sldId id="293" r:id="rId41"/>
    <p:sldId id="294" r:id="rId42"/>
    <p:sldId id="295" r:id="rId43"/>
    <p:sldId id="296" r:id="rId44"/>
    <p:sldId id="297" r:id="rId45"/>
    <p:sldId id="298" r:id="rId46"/>
    <p:sldId id="299" r:id="rId47"/>
    <p:sldId id="2146848465" r:id="rId48"/>
  </p:sldIdLst>
  <p:sldSz cx="12192000" cy="6858000"/>
  <p:notesSz cx="12192000" cy="6858000"/>
  <p:embeddedFontLst>
    <p:embeddedFont>
      <p:font typeface="Calibri" panose="020F0502020204030204" pitchFamily="34" charset="0"/>
      <p:regular r:id="rId51"/>
      <p:bold r:id="rId52"/>
      <p:italic r:id="rId53"/>
      <p:boldItalic r:id="rId54"/>
    </p:embeddedFont>
    <p:embeddedFont>
      <p:font typeface="Roboto" panose="02000000000000000000" pitchFamily="2" charset="0"/>
      <p:regular r:id="rId55"/>
      <p:bold r:id="rId56"/>
      <p:italic r:id="rId57"/>
      <p:boldItalic r:id="rId58"/>
    </p:embeddedFont>
    <p:embeddedFont>
      <p:font typeface="Segoe UI" panose="020B0502040204020203" pitchFamily="34" charset="0"/>
      <p:regular r:id="rId59"/>
      <p:bold r:id="rId60"/>
      <p:italic r:id="rId61"/>
      <p:boldItalic r:id="rId62"/>
    </p:embeddedFont>
  </p:embeddedFontLst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орнеева Полина Павловна" initials="КПП" lastIdx="4" clrIdx="0">
    <p:extLst>
      <p:ext uri="{19B8F6BF-5375-455C-9EA6-DF929625EA0E}">
        <p15:presenceInfo xmlns:p15="http://schemas.microsoft.com/office/powerpoint/2012/main" userId="Корнеева Полина Павловна" providerId="None"/>
      </p:ext>
    </p:extLst>
  </p:cmAuthor>
  <p:cmAuthor id="2" name="Яземов Роман Васильевич" initials="ЯРВ" lastIdx="10" clrIdx="1">
    <p:extLst>
      <p:ext uri="{19B8F6BF-5375-455C-9EA6-DF929625EA0E}">
        <p15:presenceInfo xmlns:p15="http://schemas.microsoft.com/office/powerpoint/2012/main" userId="Яземов Роман Васильевич" providerId="None"/>
      </p:ext>
    </p:extLst>
  </p:cmAuthor>
  <p:cmAuthor id="3" name="Бочек Александр Георгиевич" initials="БАГ" lastIdx="3" clrIdx="2">
    <p:extLst>
      <p:ext uri="{19B8F6BF-5375-455C-9EA6-DF929625EA0E}">
        <p15:presenceInfo xmlns:p15="http://schemas.microsoft.com/office/powerpoint/2012/main" userId="Бочек Александр Георгиевич" providerId="None"/>
      </p:ext>
    </p:extLst>
  </p:cmAuthor>
  <p:cmAuthor id="4" name="Цареградская Евгения Андреевна" initials="ЦЕА" lastIdx="2" clrIdx="3">
    <p:extLst>
      <p:ext uri="{19B8F6BF-5375-455C-9EA6-DF929625EA0E}">
        <p15:presenceInfo xmlns:p15="http://schemas.microsoft.com/office/powerpoint/2012/main" userId="Цареградская Евгения Андре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3"/>
    <a:srgbClr val="FFFFFF"/>
    <a:srgbClr val="C2D0DF"/>
    <a:srgbClr val="D22630"/>
    <a:srgbClr val="375980"/>
    <a:srgbClr val="ECEEF0"/>
    <a:srgbClr val="E7EBEE"/>
    <a:srgbClr val="E5E9ED"/>
    <a:srgbClr val="F8FAFC"/>
    <a:srgbClr val="749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549" autoAdjust="0"/>
    <p:restoredTop sz="53684" autoAdjust="0"/>
  </p:normalViewPr>
  <p:slideViewPr>
    <p:cSldViewPr snapToGrid="0">
      <p:cViewPr varScale="1">
        <p:scale>
          <a:sx n="61" d="100"/>
          <a:sy n="61" d="100"/>
        </p:scale>
        <p:origin x="1422" y="72"/>
      </p:cViewPr>
      <p:guideLst/>
    </p:cSldViewPr>
  </p:slideViewPr>
  <p:outlineViewPr>
    <p:cViewPr>
      <p:scale>
        <a:sx n="33" d="100"/>
        <a:sy n="33" d="100"/>
      </p:scale>
      <p:origin x="0" y="-4806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1986"/>
    </p:cViewPr>
  </p:sorterViewPr>
  <p:notesViewPr>
    <p:cSldViewPr snapToGrid="0" showGuides="1">
      <p:cViewPr varScale="1">
        <p:scale>
          <a:sx n="115" d="100"/>
          <a:sy n="115" d="100"/>
        </p:scale>
        <p:origin x="130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handoutMaster" Target="handoutMasters/handoutMaster1.xml"/><Relationship Id="rId55" Type="http://schemas.openxmlformats.org/officeDocument/2006/relationships/font" Target="fonts/font5.fntdata"/><Relationship Id="rId63" Type="http://schemas.openxmlformats.org/officeDocument/2006/relationships/commentAuthors" Target="commentAuthor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66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notesMaster" Target="notesMasters/notesMaster1.xml"/><Relationship Id="rId57" Type="http://schemas.openxmlformats.org/officeDocument/2006/relationships/font" Target="fonts/font7.fntdata"/><Relationship Id="rId61" Type="http://schemas.openxmlformats.org/officeDocument/2006/relationships/font" Target="fonts/font11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2.fntdata"/><Relationship Id="rId60" Type="http://schemas.openxmlformats.org/officeDocument/2006/relationships/font" Target="fonts/font10.fntdata"/><Relationship Id="rId65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font" Target="fonts/font6.fntdata"/><Relationship Id="rId64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font" Target="fonts/font1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9.fntdata"/><Relationship Id="rId67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4.fntdata"/><Relationship Id="rId62" Type="http://schemas.openxmlformats.org/officeDocument/2006/relationships/font" Target="fonts/font12.fntdata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5-09-17T20:28:09.459" idx="1">
    <p:pos x="7300" y="1698"/>
    <p:text>Бизнес-описание (через дефис, одна с в слове "бизнес")</p:text>
    <p:extLst>
      <p:ext uri="{C676402C-5697-4E1C-873F-D02D1690AC5C}">
        <p15:threadingInfo xmlns:p15="http://schemas.microsoft.com/office/powerpoint/2012/main" timeZoneBias="-3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5-09-17T20:33:54.397" idx="2">
    <p:pos x="7210" y="1323"/>
    <p:text>Вопрос 3.1 - "фаЙкт", Й - лишняя</p:text>
    <p:extLst>
      <p:ext uri="{C676402C-5697-4E1C-873F-D02D1690AC5C}">
        <p15:threadingInfo xmlns:p15="http://schemas.microsoft.com/office/powerpoint/2012/main" timeZoneBias="-3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D670A440-ABA6-4B56-AB40-AFBF9450F17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2B9CB34-C541-46FB-836A-74E40D4B91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87D3F0-D011-46F6-9EF7-88DFA0F94AA7}" type="datetimeFigureOut">
              <a:rPr lang="ru-RU" smtClean="0"/>
              <a:t>17.09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53F28ED-FE94-49D5-BE9A-F97824B201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FCC834C-75C7-4966-B3EE-80835932CB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8C97A9-F642-4496-8051-3F43895B8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1513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36C549-0F7F-422F-8A54-28865427F7D3}" type="datetimeFigureOut">
              <a:rPr lang="ru-RU" smtClean="0"/>
              <a:t>17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72707B-A75C-402B-A30F-C145F4BD56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1796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значально я хотел вам рассказать о динамике и развитии ИИ о трендах и инструментах.</a:t>
            </a:r>
          </a:p>
          <a:p>
            <a:r>
              <a:rPr lang="ru-RU" dirty="0"/>
              <a:t>Подходах и идеях. Дать  некоторые базовые определения. Но вы с легкостью можете найдете все в </a:t>
            </a:r>
            <a:r>
              <a:rPr lang="ru-RU" dirty="0" err="1"/>
              <a:t>интерентах</a:t>
            </a:r>
            <a:r>
              <a:rPr lang="ru-RU" dirty="0"/>
              <a:t>.</a:t>
            </a:r>
          </a:p>
          <a:p>
            <a:endParaRPr lang="ru-RU" dirty="0"/>
          </a:p>
          <a:p>
            <a:r>
              <a:rPr lang="ru-RU" dirty="0"/>
              <a:t>Поэтому  я проведу для вас мастер класс/скрин каст. Покажу на практике, как можно разрабатывать на 1с с помощью И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72707B-A75C-402B-A30F-C145F4BD563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04958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51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Прошла половина доклада и мы наконец добрались до реализации, но писать код еще рано, необходимо составить план реализации.</a:t>
            </a:r>
            <a:br>
              <a:rPr sz="2000" dirty="0"/>
            </a:br>
            <a:br>
              <a:rPr sz="2000" dirty="0"/>
            </a:br>
            <a:r>
              <a:rPr lang="ru-RU" sz="2000" b="0" strike="noStrike" spc="-1" dirty="0">
                <a:latin typeface="Arial"/>
              </a:rPr>
              <a:t>Причем детальный,  котором будут описаны все доработки, изменения объектов метаданных, новые модули и методы, связи и нюансы реализации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72707B-A75C-402B-A30F-C145F4BD5634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18708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20700"/>
            <a:ext cx="4570413" cy="2571750"/>
          </a:xfrm>
          <a:prstGeom prst="rect">
            <a:avLst/>
          </a:prstGeom>
          <a:ln w="0">
            <a:noFill/>
          </a:ln>
        </p:spPr>
      </p:sp>
      <p:sp>
        <p:nvSpPr>
          <p:cNvPr id="453" name="PlaceHolder 2"/>
          <p:cNvSpPr>
            <a:spLocks noGrp="1"/>
          </p:cNvSpPr>
          <p:nvPr>
            <p:ph type="body"/>
          </p:nvPr>
        </p:nvSpPr>
        <p:spPr>
          <a:xfrm>
            <a:off x="1218960" y="3257280"/>
            <a:ext cx="9753120" cy="3085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2000" b="0" strike="noStrike" spc="-1">
                <a:latin typeface="Arial"/>
              </a:rPr>
              <a:t>Дальше за несколько итераций можно будет завершить остальные этапы реализации. И получить готовую задачу.</a:t>
            </a:r>
          </a:p>
          <a:p>
            <a:endParaRPr lang="ru-RU" sz="2000" b="0" strike="noStrike" spc="-1">
              <a:latin typeface="Arial"/>
            </a:endParaRPr>
          </a:p>
          <a:p>
            <a:r>
              <a:rPr lang="ru-RU" sz="2000" b="0" strike="noStrike" spc="-1">
                <a:latin typeface="Arial"/>
              </a:rPr>
              <a:t>Тайминг наш подходит к концу и пора подвести итоги</a:t>
            </a: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55" name="PlaceHolder 2"/>
          <p:cNvSpPr>
            <a:spLocks noGrp="1"/>
          </p:cNvSpPr>
          <p:nvPr>
            <p:ph type="body"/>
          </p:nvPr>
        </p:nvSpPr>
        <p:spPr>
          <a:xfrm>
            <a:off x="756000" y="3168000"/>
            <a:ext cx="11988000" cy="6721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За последние годы мы стали свидетелями настоящей революции в сфере искусственного интеллекта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Ещё вчера ИИ мог лишь дополнять код, и то с ошибками, а сегодня он способен полностью реализовывать задачи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Это стремительное развитие меняет наши привычки и подходы к работе, особенно в разработке. 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Акцент смещается с написания кода на проектирование и планирование.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Это позволяет выявлять проблемы на ранних этапах и значительно снижать риски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На первый план выходят инструменты контроля качества: линтеры, стат. анализ, проверка безопасности, SAST/DAST и, конечно, тестирование и </a:t>
            </a:r>
            <a:r>
              <a:rPr lang="ru-RU" sz="2000" b="0" strike="noStrike" spc="-1" dirty="0" err="1">
                <a:latin typeface="Arial"/>
              </a:rPr>
              <a:t>ревью</a:t>
            </a:r>
            <a:r>
              <a:rPr lang="ru-RU" sz="2000" b="0" strike="noStrike" spc="-1" dirty="0">
                <a:latin typeface="Arial"/>
              </a:rPr>
              <a:t>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Но важно помнить: ИИ — это не замена разработчику.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Это мощный инструмент, который расширяет наши возможности, повышает скорость работы и берёт на себя рутинные задачи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Ключевая роль человека остаётся неизменной: это принятие решений, критическое мышление и </a:t>
            </a:r>
            <a:r>
              <a:rPr lang="ru-RU" sz="2000" b="0" strike="noStrike" spc="-1" dirty="0" err="1">
                <a:latin typeface="Arial"/>
              </a:rPr>
              <a:t>онтроль</a:t>
            </a:r>
            <a:r>
              <a:rPr lang="ru-RU" sz="2000" b="0" strike="noStrike" spc="-1" dirty="0">
                <a:latin typeface="Arial"/>
              </a:rPr>
              <a:t> качества. Именно мы несём ответственность за конечный результат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Мы живем с вами в интересное время, нужно адаптироваться.</a:t>
            </a:r>
          </a:p>
          <a:p>
            <a:pPr marL="216000" indent="-216000">
              <a:lnSpc>
                <a:spcPct val="100000"/>
              </a:lnSpc>
              <a:buNone/>
            </a:pPr>
            <a:endParaRPr lang="ru-RU" sz="2000" b="0" strike="noStrike" spc="-1" dirty="0">
              <a:latin typeface="Arial"/>
            </a:endParaRP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Призываю вас: пробуйте, дерзайте, изучайте и активно применяйте ИИ для решения своих задач, от каких то бытовых личных, до рабочих.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эти проектах я экспериментировал и изучал подходы.</a:t>
            </a:r>
          </a:p>
          <a:p>
            <a:endParaRPr lang="ru-RU" dirty="0"/>
          </a:p>
          <a:p>
            <a:r>
              <a:rPr lang="ru-RU" dirty="0"/>
              <a:t>Смотрел что есть в других языках и чего не хватает в 1С.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В 1с. Здесь мне ИИ помогает работать с документацией, генерировать описания методов, создает тесты.</a:t>
            </a:r>
          </a:p>
          <a:p>
            <a:r>
              <a:rPr lang="ru-RU" dirty="0"/>
              <a:t>А также закрывает и реальные задачи. Например, по </a:t>
            </a:r>
            <a:r>
              <a:rPr lang="en-US" dirty="0" err="1"/>
              <a:t>YAxUnit</a:t>
            </a:r>
            <a:r>
              <a:rPr lang="ru-RU" dirty="0"/>
              <a:t> я закрыл 4 </a:t>
            </a:r>
            <a:r>
              <a:rPr lang="en-US" dirty="0"/>
              <a:t>issue </a:t>
            </a:r>
            <a:r>
              <a:rPr lang="ru-RU" dirty="0"/>
              <a:t>не написав ни строчки кода, все было сделано с помощью </a:t>
            </a:r>
            <a:r>
              <a:rPr lang="ru-RU" dirty="0" err="1"/>
              <a:t>нейронок</a:t>
            </a:r>
            <a:r>
              <a:rPr lang="ru-RU" dirty="0"/>
              <a:t>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Я вам расскажу и покажу что для этого нужно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72707B-A75C-402B-A30F-C145F4BD563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242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авила с помощью которых вы можете настроить поведение моделей под себя, под ваши требовани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72707B-A75C-402B-A30F-C145F4BD5634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6927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41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Проект склонировали, открыли его в курсоре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Осталось еще чуть-чуть, создадим шпаргалку и нейроник. Сформируем техническое и бизнесовое описание проекта.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43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 dirty="0">
                <a:latin typeface="Arial"/>
              </a:rPr>
              <a:t>Для того чтобы реализовать такую задачу, нам понадобится прогнать ее по тем же этапам, как и обычно.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45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Как мы будем его формировать?</a:t>
            </a:r>
            <a:br>
              <a:rPr sz="2000"/>
            </a:br>
            <a:r>
              <a:rPr lang="ru-RU" sz="2000" b="0" strike="noStrike" spc="-1">
                <a:latin typeface="Arial"/>
              </a:rPr>
              <a:t>Конечно с помощью ИИ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Открываем новый чат, вводим промпт.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И очень важный момент, чтобы модель не придумывала лишнего и выдала хороший результат, добавляем пункт «Задай уточняющие вопросы»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47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Нейронка формирует разнообразные вопросы из разных сфер, по функциональным и нефункциональным  требований(что будет на фронте, какие билеты будут доступны, нужно ли бронировние и бонусная программа). Как будем принимать оплаты и работать с перс данными где размещать решение и тд</a:t>
            </a:r>
            <a:br>
              <a:rPr sz="2000"/>
            </a:br>
            <a:br>
              <a:rPr sz="2000"/>
            </a:br>
            <a:r>
              <a:rPr lang="ru-RU" sz="2000" b="0" strike="noStrike" spc="-1">
                <a:latin typeface="Arial"/>
              </a:rPr>
              <a:t>Такой подход помогает сэкономить мозготопливо и время, посмотреть на проблему немного шире и не пропустить важного.</a:t>
            </a:r>
            <a:br>
              <a:rPr sz="2000"/>
            </a:br>
            <a:r>
              <a:rPr lang="ru-RU" sz="2000" b="0" strike="noStrike" spc="-1">
                <a:latin typeface="Arial"/>
              </a:rPr>
              <a:t>+ Подсветит разные варианты решения задачи.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5900" y="812800"/>
            <a:ext cx="7126288" cy="4008438"/>
          </a:xfrm>
          <a:prstGeom prst="rect">
            <a:avLst/>
          </a:prstGeom>
          <a:ln w="0">
            <a:noFill/>
          </a:ln>
        </p:spPr>
      </p:sp>
      <p:sp>
        <p:nvSpPr>
          <p:cNvPr id="449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Переходим к проработке архитектуры и рисованию разлчных диаграмм.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Это позволит нам визуализировать доработки. Посмотреть на них под другим углом, так сказать. Не читать много букв и визаульно проконтролировать идею.</a:t>
            </a:r>
          </a:p>
          <a:p>
            <a:pPr marL="216000" indent="-216000">
              <a:lnSpc>
                <a:spcPct val="100000"/>
              </a:lnSpc>
              <a:buNone/>
            </a:pPr>
            <a:r>
              <a:rPr lang="ru-RU" sz="2000" b="0" strike="noStrike" spc="-1">
                <a:latin typeface="Arial"/>
              </a:rPr>
              <a:t>Плюс получим артефакты которые можно будет использовать в работе и при общении с заказчиком.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латежная система немного сбоку и мы с ней не </a:t>
            </a:r>
            <a:r>
              <a:rPr lang="ru-RU" dirty="0" err="1"/>
              <a:t>интегрируемс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72707B-A75C-402B-A30F-C145F4BD5634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201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png"/><Relationship Id="rId4" Type="http://schemas.openxmlformats.org/officeDocument/2006/relationships/image" Target="../media/image1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7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6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7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7.sv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0809305-8D6E-47B7-B066-7E59205A42AF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F2CEB0-413F-43C1-A37C-F4C3E13C1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5617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ЯТЬ ЦИФР">
    <p:bg>
      <p:bgPr>
        <a:gradFill>
          <a:gsLst>
            <a:gs pos="100000">
              <a:schemeClr val="accent3">
                <a:alpha val="50000"/>
              </a:schemeClr>
            </a:gs>
            <a:gs pos="0">
              <a:schemeClr val="accent2">
                <a:alpha val="50000"/>
              </a:schemeClr>
            </a:gs>
          </a:gsLst>
          <a:lin ang="9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6675E73-F4B0-419C-A0D7-BA26365C4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877094"/>
            <a:ext cx="9220200" cy="5909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C58855F-68D9-4A9C-91C9-6557B4795BE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66EDFB0-3FEB-4593-8CBE-D9E7F6751DAD}"/>
              </a:ext>
            </a:extLst>
          </p:cNvPr>
          <p:cNvSpPr/>
          <p:nvPr/>
        </p:nvSpPr>
        <p:spPr>
          <a:xfrm>
            <a:off x="1101839" y="1771236"/>
            <a:ext cx="212623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1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EBC5A97-29E2-4B66-8DBF-1A92578135B4}"/>
              </a:ext>
            </a:extLst>
          </p:cNvPr>
          <p:cNvSpPr/>
          <p:nvPr/>
        </p:nvSpPr>
        <p:spPr>
          <a:xfrm>
            <a:off x="5292459" y="1771236"/>
            <a:ext cx="162056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2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E7AD1BF-D018-4484-9500-F7A52DBC2915}"/>
              </a:ext>
            </a:extLst>
          </p:cNvPr>
          <p:cNvSpPr/>
          <p:nvPr/>
        </p:nvSpPr>
        <p:spPr>
          <a:xfrm>
            <a:off x="8913926" y="1771236"/>
            <a:ext cx="217623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3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701725DE-1F53-489F-A2CF-191E197BA5A3}"/>
              </a:ext>
            </a:extLst>
          </p:cNvPr>
          <p:cNvSpPr/>
          <p:nvPr/>
        </p:nvSpPr>
        <p:spPr>
          <a:xfrm>
            <a:off x="1221350" y="3875061"/>
            <a:ext cx="1909300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4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B277EDA-598C-47B7-BECA-73CAD2488BDB}"/>
              </a:ext>
            </a:extLst>
          </p:cNvPr>
          <p:cNvSpPr/>
          <p:nvPr/>
        </p:nvSpPr>
        <p:spPr>
          <a:xfrm>
            <a:off x="5278970" y="3875061"/>
            <a:ext cx="1620568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5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38" name="Текст 37">
            <a:extLst>
              <a:ext uri="{FF2B5EF4-FFF2-40B4-BE49-F238E27FC236}">
                <a16:creationId xmlns:a16="http://schemas.microsoft.com/office/drawing/2014/main" id="{E6EAE5D6-C6BF-4A53-BCE8-2199967752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80858"/>
            <a:ext cx="3353070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7">
            <a:extLst>
              <a:ext uri="{FF2B5EF4-FFF2-40B4-BE49-F238E27FC236}">
                <a16:creationId xmlns:a16="http://schemas.microsoft.com/office/drawing/2014/main" id="{FD9D7E6C-8E47-42C7-9601-5691DB901C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67213" y="1780858"/>
            <a:ext cx="3457575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7">
            <a:extLst>
              <a:ext uri="{FF2B5EF4-FFF2-40B4-BE49-F238E27FC236}">
                <a16:creationId xmlns:a16="http://schemas.microsoft.com/office/drawing/2014/main" id="{725ACFDC-65B1-471A-997C-8324B26BC1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2906" y="1780858"/>
            <a:ext cx="3412462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1" name="Текст 37">
            <a:extLst>
              <a:ext uri="{FF2B5EF4-FFF2-40B4-BE49-F238E27FC236}">
                <a16:creationId xmlns:a16="http://schemas.microsoft.com/office/drawing/2014/main" id="{1B2DB9B9-91D5-4544-B154-1A014C6128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025" y="3853363"/>
            <a:ext cx="3375950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2" name="Текст 37">
            <a:extLst>
              <a:ext uri="{FF2B5EF4-FFF2-40B4-BE49-F238E27FC236}">
                <a16:creationId xmlns:a16="http://schemas.microsoft.com/office/drawing/2014/main" id="{6586EE73-1155-4FF8-899F-128517A988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3853363"/>
            <a:ext cx="3457575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3698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ЕСТЬ ЦИФР">
    <p:bg>
      <p:bgPr>
        <a:gradFill>
          <a:gsLst>
            <a:gs pos="100000">
              <a:schemeClr val="accent3">
                <a:alpha val="50000"/>
              </a:schemeClr>
            </a:gs>
            <a:gs pos="0">
              <a:schemeClr val="accent2">
                <a:alpha val="50000"/>
              </a:schemeClr>
            </a:gs>
          </a:gsLst>
          <a:lin ang="9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6675E73-F4B0-419C-A0D7-BA26365C4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877094"/>
            <a:ext cx="9220200" cy="5909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C58855F-68D9-4A9C-91C9-6557B4795BE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66EDFB0-3FEB-4593-8CBE-D9E7F6751DAD}"/>
              </a:ext>
            </a:extLst>
          </p:cNvPr>
          <p:cNvSpPr/>
          <p:nvPr/>
        </p:nvSpPr>
        <p:spPr>
          <a:xfrm>
            <a:off x="1101839" y="1771236"/>
            <a:ext cx="212623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1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EBC5A97-29E2-4B66-8DBF-1A92578135B4}"/>
              </a:ext>
            </a:extLst>
          </p:cNvPr>
          <p:cNvSpPr/>
          <p:nvPr/>
        </p:nvSpPr>
        <p:spPr>
          <a:xfrm>
            <a:off x="5292459" y="1771236"/>
            <a:ext cx="162056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2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E7AD1BF-D018-4484-9500-F7A52DBC2915}"/>
              </a:ext>
            </a:extLst>
          </p:cNvPr>
          <p:cNvSpPr/>
          <p:nvPr/>
        </p:nvSpPr>
        <p:spPr>
          <a:xfrm>
            <a:off x="8913926" y="1771236"/>
            <a:ext cx="217623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3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701725DE-1F53-489F-A2CF-191E197BA5A3}"/>
              </a:ext>
            </a:extLst>
          </p:cNvPr>
          <p:cNvSpPr/>
          <p:nvPr/>
        </p:nvSpPr>
        <p:spPr>
          <a:xfrm>
            <a:off x="1221350" y="3875061"/>
            <a:ext cx="1909300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4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B277EDA-598C-47B7-BECA-73CAD2488BDB}"/>
              </a:ext>
            </a:extLst>
          </p:cNvPr>
          <p:cNvSpPr/>
          <p:nvPr/>
        </p:nvSpPr>
        <p:spPr>
          <a:xfrm>
            <a:off x="5278970" y="3875061"/>
            <a:ext cx="1620568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5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75767E28-321B-4D3D-8B50-CD7F0E855645}"/>
              </a:ext>
            </a:extLst>
          </p:cNvPr>
          <p:cNvSpPr/>
          <p:nvPr/>
        </p:nvSpPr>
        <p:spPr>
          <a:xfrm>
            <a:off x="9047858" y="3875061"/>
            <a:ext cx="1899766" cy="210382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6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38" name="Текст 37">
            <a:extLst>
              <a:ext uri="{FF2B5EF4-FFF2-40B4-BE49-F238E27FC236}">
                <a16:creationId xmlns:a16="http://schemas.microsoft.com/office/drawing/2014/main" id="{E6EAE5D6-C6BF-4A53-BCE8-2199967752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80858"/>
            <a:ext cx="3353070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7">
            <a:extLst>
              <a:ext uri="{FF2B5EF4-FFF2-40B4-BE49-F238E27FC236}">
                <a16:creationId xmlns:a16="http://schemas.microsoft.com/office/drawing/2014/main" id="{FD9D7E6C-8E47-42C7-9601-5691DB901C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67213" y="1780858"/>
            <a:ext cx="3457575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7">
            <a:extLst>
              <a:ext uri="{FF2B5EF4-FFF2-40B4-BE49-F238E27FC236}">
                <a16:creationId xmlns:a16="http://schemas.microsoft.com/office/drawing/2014/main" id="{725ACFDC-65B1-471A-997C-8324B26BC1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2906" y="1780858"/>
            <a:ext cx="3412462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1" name="Текст 37">
            <a:extLst>
              <a:ext uri="{FF2B5EF4-FFF2-40B4-BE49-F238E27FC236}">
                <a16:creationId xmlns:a16="http://schemas.microsoft.com/office/drawing/2014/main" id="{1B2DB9B9-91D5-4544-B154-1A014C6128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025" y="3853363"/>
            <a:ext cx="3375950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2" name="Текст 37">
            <a:extLst>
              <a:ext uri="{FF2B5EF4-FFF2-40B4-BE49-F238E27FC236}">
                <a16:creationId xmlns:a16="http://schemas.microsoft.com/office/drawing/2014/main" id="{6586EE73-1155-4FF8-899F-128517A988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3853363"/>
            <a:ext cx="3457575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3" name="Текст 37">
            <a:extLst>
              <a:ext uri="{FF2B5EF4-FFF2-40B4-BE49-F238E27FC236}">
                <a16:creationId xmlns:a16="http://schemas.microsoft.com/office/drawing/2014/main" id="{43B03D83-AD63-4FC7-9E1C-A33428CFEF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91513" y="3853363"/>
            <a:ext cx="3412462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5441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980C779-5D12-4968-B8E2-275C707EA6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343"/>
          <a:stretch/>
        </p:blipFill>
        <p:spPr>
          <a:xfrm flipV="1">
            <a:off x="-1" y="0"/>
            <a:ext cx="6340475" cy="6861974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100000">
                <a:schemeClr val="tx1"/>
              </a:gs>
              <a:gs pos="0">
                <a:schemeClr val="accent5"/>
              </a:gs>
            </a:gsLst>
            <a:lin ang="3600000" scaled="0"/>
          </a:gra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04794"/>
            <a:ext cx="5148264" cy="5632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195D556-51B6-4669-A0C2-A7CE6E683C4A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5" y="6353841"/>
            <a:ext cx="5148264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10">
            <a:extLst>
              <a:ext uri="{FF2B5EF4-FFF2-40B4-BE49-F238E27FC236}">
                <a16:creationId xmlns:a16="http://schemas.microsoft.com/office/drawing/2014/main" id="{378CE092-DE70-4291-B51D-BABB68EAE31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88936" y="63538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DF5FB401-6137-4021-9675-0158AC284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0"/>
            <a:ext cx="5148263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4222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скрин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F299CBF-ED89-4DA3-AA38-93107F0E04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3" r="-1"/>
          <a:stretch/>
        </p:blipFill>
        <p:spPr>
          <a:xfrm flipV="1">
            <a:off x="4048126" y="0"/>
            <a:ext cx="7664450" cy="6861974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64" y="1700213"/>
            <a:ext cx="5616509" cy="4252994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</a:schemeClr>
              </a:gs>
              <a:gs pos="37000">
                <a:schemeClr val="tx1">
                  <a:lumMod val="90000"/>
                  <a:lumOff val="10000"/>
                </a:schemeClr>
              </a:gs>
            </a:gsLst>
            <a:lin ang="3600000" scaled="0"/>
          </a:gradFill>
          <a:ln w="101600">
            <a:solidFill>
              <a:schemeClr val="tx1"/>
            </a:solidFill>
            <a:round/>
          </a:ln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ru-RU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9164B00A-A83E-460A-A9F1-78A154EEBC5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12">
            <a:extLst>
              <a:ext uri="{FF2B5EF4-FFF2-40B4-BE49-F238E27FC236}">
                <a16:creationId xmlns:a16="http://schemas.microsoft.com/office/drawing/2014/main" id="{B3952337-7C50-4070-8922-DD59C7C091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700212"/>
            <a:ext cx="5148263" cy="4284662"/>
          </a:xfrm>
          <a:prstGeom prst="rect">
            <a:avLst/>
          </a:prstGeo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847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2 скрин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D93E1CFB-3265-4A72-8ADE-2BFD82A5AADD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53064D97-15C8-450C-BCDB-CAA8EC702A85}"/>
              </a:ext>
            </a:extLst>
          </p:cNvPr>
          <p:cNvSpPr>
            <a:spLocks noChangeAspect="1"/>
          </p:cNvSpPr>
          <p:nvPr/>
        </p:nvSpPr>
        <p:spPr>
          <a:xfrm>
            <a:off x="4340433" y="4065814"/>
            <a:ext cx="3511134" cy="2792186"/>
          </a:xfrm>
          <a:custGeom>
            <a:avLst/>
            <a:gdLst>
              <a:gd name="connsiteX0" fmla="*/ 327485 w 2262394"/>
              <a:gd name="connsiteY0" fmla="*/ 1792332 h 1799142"/>
              <a:gd name="connsiteX1" fmla="*/ 2254291 w 2262394"/>
              <a:gd name="connsiteY1" fmla="*/ 9134 h 1799142"/>
              <a:gd name="connsiteX2" fmla="*/ 1935940 w 2262394"/>
              <a:gd name="connsiteY2" fmla="*/ 9134 h 1799142"/>
              <a:gd name="connsiteX3" fmla="*/ 9134 w 2262394"/>
              <a:gd name="connsiteY3" fmla="*/ 1792332 h 1799142"/>
              <a:gd name="connsiteX4" fmla="*/ 327485 w 2262394"/>
              <a:gd name="connsiteY4" fmla="*/ 1792332 h 179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2394" h="1799142">
                <a:moveTo>
                  <a:pt x="327485" y="1792332"/>
                </a:moveTo>
                <a:lnTo>
                  <a:pt x="2254291" y="9134"/>
                </a:lnTo>
                <a:lnTo>
                  <a:pt x="1935940" y="9134"/>
                </a:lnTo>
                <a:lnTo>
                  <a:pt x="9134" y="1792332"/>
                </a:lnTo>
                <a:lnTo>
                  <a:pt x="327485" y="1792332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4367213" y="1700214"/>
            <a:ext cx="7345361" cy="4252992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</a:schemeClr>
              </a:gs>
              <a:gs pos="37000">
                <a:schemeClr val="tx1">
                  <a:lumMod val="90000"/>
                  <a:lumOff val="10000"/>
                </a:schemeClr>
              </a:gs>
            </a:gsLst>
            <a:lin ang="3600000" scaled="0"/>
          </a:gradFill>
          <a:ln w="101600">
            <a:solidFill>
              <a:schemeClr val="tx1"/>
            </a:solidFill>
            <a:round/>
          </a:ln>
        </p:spPr>
        <p:txBody>
          <a:bodyPr vert="horz" anchor="b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9164B00A-A83E-460A-A9F1-78A154EEBC5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12">
            <a:extLst>
              <a:ext uri="{FF2B5EF4-FFF2-40B4-BE49-F238E27FC236}">
                <a16:creationId xmlns:a16="http://schemas.microsoft.com/office/drawing/2014/main" id="{EEF0F51B-4ACA-4185-BDC2-81F26480388D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79425" y="1700212"/>
            <a:ext cx="3384550" cy="4284662"/>
          </a:xfrm>
          <a:prstGeom prst="rect">
            <a:avLst/>
          </a:prstGeo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8908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скрин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E5370FB-9A3F-425C-A9C8-71C160F3B0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4268" t="61219" r="-6903"/>
          <a:stretch/>
        </p:blipFill>
        <p:spPr>
          <a:xfrm rot="10800000">
            <a:off x="7977760" y="-3975"/>
            <a:ext cx="4214240" cy="342900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08A03F2-33DB-4D4A-9A04-402BFA8A2801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</a:schemeClr>
              </a:gs>
              <a:gs pos="37000">
                <a:schemeClr val="tx1">
                  <a:lumMod val="90000"/>
                  <a:lumOff val="1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FDDEFB9-E7AC-4E20-B129-BF04746CEE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6528" t="50241" r="196" b="-268"/>
          <a:stretch/>
        </p:blipFill>
        <p:spPr>
          <a:xfrm flipV="1">
            <a:off x="-1" y="3425026"/>
            <a:ext cx="4086697" cy="3432973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78203" y="643193"/>
            <a:ext cx="8235594" cy="4632522"/>
          </a:xfrm>
          <a:prstGeom prst="rect">
            <a:avLst/>
          </a:prstGeom>
          <a:gradFill>
            <a:gsLst>
              <a:gs pos="100000">
                <a:schemeClr val="accent5"/>
              </a:gs>
              <a:gs pos="0">
                <a:schemeClr val="tx1"/>
              </a:gs>
            </a:gsLst>
            <a:lin ang="3600000" scaled="0"/>
          </a:gradFill>
          <a:ln w="101600">
            <a:solidFill>
              <a:schemeClr val="tx1"/>
            </a:solidFill>
            <a:rou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BED5E19-A91B-4231-BD2A-DF509DC1CC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auto">
          <a:xfrm>
            <a:off x="11353799" y="475360"/>
            <a:ext cx="364427" cy="364427"/>
          </a:xfrm>
          <a:prstGeom prst="rect">
            <a:avLst/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0DA64049-1279-45E9-B25B-57CE2DBB51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78203" y="5362575"/>
            <a:ext cx="8241944" cy="852232"/>
          </a:xfrm>
          <a:prstGeom prst="rect">
            <a:avLst/>
          </a:prstGeom>
        </p:spPr>
        <p:txBody>
          <a:bodyPr anchor="b" anchorCtr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731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/3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171AEE6-DBC5-42B1-AE81-4E35CE159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343"/>
          <a:stretch/>
        </p:blipFill>
        <p:spPr>
          <a:xfrm flipV="1">
            <a:off x="-1" y="0"/>
            <a:ext cx="6340475" cy="6861974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91513" y="0"/>
            <a:ext cx="3900487" cy="6858000"/>
          </a:xfrm>
          <a:prstGeom prst="rect">
            <a:avLst/>
          </a:prstGeom>
          <a:gradFill>
            <a:gsLst>
              <a:gs pos="100000">
                <a:schemeClr val="accent5"/>
              </a:gs>
              <a:gs pos="0">
                <a:schemeClr val="tx1"/>
              </a:gs>
            </a:gsLst>
            <a:lin ang="3600000" scaled="0"/>
          </a:gra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04794"/>
            <a:ext cx="7054850" cy="5632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8936" y="6353841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A6B1815F-065C-4185-8050-9D80CC1CDC21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5" y="6353841"/>
            <a:ext cx="7345362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>
            <a:extLst>
              <a:ext uri="{FF2B5EF4-FFF2-40B4-BE49-F238E27FC236}">
                <a16:creationId xmlns:a16="http://schemas.microsoft.com/office/drawing/2014/main" id="{F69CD830-099B-4C6E-ACDC-D1F376CE13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0"/>
            <a:ext cx="3384550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3">
            <a:extLst>
              <a:ext uri="{FF2B5EF4-FFF2-40B4-BE49-F238E27FC236}">
                <a16:creationId xmlns:a16="http://schemas.microsoft.com/office/drawing/2014/main" id="{9D91C4F8-C203-4DE9-9EE9-2680A1543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0"/>
            <a:ext cx="3457575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2648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CF4AECF-6D8B-456A-A829-B775E5A4C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1841"/>
          <a:stretch/>
        </p:blipFill>
        <p:spPr>
          <a:xfrm>
            <a:off x="3900487" y="0"/>
            <a:ext cx="7812088" cy="6861974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151086" cy="6858000"/>
          </a:xfrm>
          <a:prstGeom prst="rect">
            <a:avLst/>
          </a:prstGeom>
          <a:gradFill>
            <a:gsLst>
              <a:gs pos="100000">
                <a:schemeClr val="accent5"/>
              </a:gs>
              <a:gs pos="0">
                <a:schemeClr val="tx1"/>
              </a:gs>
            </a:gsLst>
            <a:lin ang="3600000" scaled="0"/>
          </a:gradFill>
        </p:spPr>
        <p:txBody>
          <a:bodyPr/>
          <a:lstStyle/>
          <a:p>
            <a:endParaRPr lang="ru-RU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D45D242A-39C8-4F81-9DF7-C831EF78FF1F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583112" y="6353841"/>
            <a:ext cx="7129464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>
            <a:extLst>
              <a:ext uri="{FF2B5EF4-FFF2-40B4-BE49-F238E27FC236}">
                <a16:creationId xmlns:a16="http://schemas.microsoft.com/office/drawing/2014/main" id="{5740AEAF-A931-45B7-9E89-ACD8A534A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83112" y="-3972"/>
            <a:ext cx="3241676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13">
            <a:extLst>
              <a:ext uri="{FF2B5EF4-FFF2-40B4-BE49-F238E27FC236}">
                <a16:creationId xmlns:a16="http://schemas.microsoft.com/office/drawing/2014/main" id="{3EF4A539-252D-4827-B91B-48E1CC62A6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30991" y="-3972"/>
            <a:ext cx="3357771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112" y="904794"/>
            <a:ext cx="5830888" cy="5632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9424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сверху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: фигура 13">
            <a:extLst>
              <a:ext uri="{FF2B5EF4-FFF2-40B4-BE49-F238E27FC236}">
                <a16:creationId xmlns:a16="http://schemas.microsoft.com/office/drawing/2014/main" id="{3BDBD3CB-7267-4D41-968B-E8E52DF5C3D0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62ED24F2-B9FA-4491-A721-E652456DDAA1}"/>
              </a:ext>
            </a:extLst>
          </p:cNvPr>
          <p:cNvSpPr>
            <a:spLocks noChangeAspect="1"/>
          </p:cNvSpPr>
          <p:nvPr/>
        </p:nvSpPr>
        <p:spPr>
          <a:xfrm>
            <a:off x="4340433" y="4065814"/>
            <a:ext cx="3511134" cy="2792186"/>
          </a:xfrm>
          <a:custGeom>
            <a:avLst/>
            <a:gdLst>
              <a:gd name="connsiteX0" fmla="*/ 327485 w 2262394"/>
              <a:gd name="connsiteY0" fmla="*/ 1792332 h 1799142"/>
              <a:gd name="connsiteX1" fmla="*/ 2254291 w 2262394"/>
              <a:gd name="connsiteY1" fmla="*/ 9134 h 1799142"/>
              <a:gd name="connsiteX2" fmla="*/ 1935940 w 2262394"/>
              <a:gd name="connsiteY2" fmla="*/ 9134 h 1799142"/>
              <a:gd name="connsiteX3" fmla="*/ 9134 w 2262394"/>
              <a:gd name="connsiteY3" fmla="*/ 1792332 h 1799142"/>
              <a:gd name="connsiteX4" fmla="*/ 327485 w 2262394"/>
              <a:gd name="connsiteY4" fmla="*/ 1792332 h 179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2394" h="1799142">
                <a:moveTo>
                  <a:pt x="327485" y="1792332"/>
                </a:moveTo>
                <a:lnTo>
                  <a:pt x="2254291" y="9134"/>
                </a:lnTo>
                <a:lnTo>
                  <a:pt x="1935940" y="9134"/>
                </a:lnTo>
                <a:lnTo>
                  <a:pt x="9134" y="1792332"/>
                </a:lnTo>
                <a:lnTo>
                  <a:pt x="327485" y="1792332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tx1"/>
              </a:gs>
              <a:gs pos="0">
                <a:schemeClr val="accent5"/>
              </a:gs>
            </a:gsLst>
            <a:lin ang="3600000" scaled="0"/>
          </a:gradFill>
        </p:spPr>
        <p:txBody>
          <a:bodyPr/>
          <a:lstStyle/>
          <a:p>
            <a:endParaRPr lang="ru-RU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9164B00A-A83E-460A-A9F1-78A154EEBC5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>
            <a:extLst>
              <a:ext uri="{FF2B5EF4-FFF2-40B4-BE49-F238E27FC236}">
                <a16:creationId xmlns:a16="http://schemas.microsoft.com/office/drawing/2014/main" id="{A8898372-D640-4F9F-BC28-E3E2537BBF1E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79425" y="3769492"/>
            <a:ext cx="3384550" cy="2215384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E15E2025-FC39-41B8-92A8-0A15434202EE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367213" y="3769492"/>
            <a:ext cx="3457574" cy="2215384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271D76E5-DC68-4361-A047-B0E497F0F40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8291514" y="3769492"/>
            <a:ext cx="3421062" cy="2215384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B03C5B9-1408-474A-A9BC-CF75A19DA71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067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сверху / 4 столбика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: фигура 13">
            <a:extLst>
              <a:ext uri="{FF2B5EF4-FFF2-40B4-BE49-F238E27FC236}">
                <a16:creationId xmlns:a16="http://schemas.microsoft.com/office/drawing/2014/main" id="{3BDBD3CB-7267-4D41-968B-E8E52DF5C3D0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62ED24F2-B9FA-4491-A721-E652456DDAA1}"/>
              </a:ext>
            </a:extLst>
          </p:cNvPr>
          <p:cNvSpPr>
            <a:spLocks noChangeAspect="1"/>
          </p:cNvSpPr>
          <p:nvPr/>
        </p:nvSpPr>
        <p:spPr>
          <a:xfrm>
            <a:off x="4340433" y="4065814"/>
            <a:ext cx="3511134" cy="2792186"/>
          </a:xfrm>
          <a:custGeom>
            <a:avLst/>
            <a:gdLst>
              <a:gd name="connsiteX0" fmla="*/ 327485 w 2262394"/>
              <a:gd name="connsiteY0" fmla="*/ 1792332 h 1799142"/>
              <a:gd name="connsiteX1" fmla="*/ 2254291 w 2262394"/>
              <a:gd name="connsiteY1" fmla="*/ 9134 h 1799142"/>
              <a:gd name="connsiteX2" fmla="*/ 1935940 w 2262394"/>
              <a:gd name="connsiteY2" fmla="*/ 9134 h 1799142"/>
              <a:gd name="connsiteX3" fmla="*/ 9134 w 2262394"/>
              <a:gd name="connsiteY3" fmla="*/ 1792332 h 1799142"/>
              <a:gd name="connsiteX4" fmla="*/ 327485 w 2262394"/>
              <a:gd name="connsiteY4" fmla="*/ 1792332 h 179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2394" h="1799142">
                <a:moveTo>
                  <a:pt x="327485" y="1792332"/>
                </a:moveTo>
                <a:lnTo>
                  <a:pt x="2254291" y="9134"/>
                </a:lnTo>
                <a:lnTo>
                  <a:pt x="1935940" y="9134"/>
                </a:lnTo>
                <a:lnTo>
                  <a:pt x="9134" y="1792332"/>
                </a:lnTo>
                <a:lnTo>
                  <a:pt x="327485" y="1792332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tx1"/>
              </a:gs>
              <a:gs pos="0">
                <a:schemeClr val="accent5"/>
              </a:gs>
            </a:gsLst>
            <a:lin ang="3600000" scaled="0"/>
          </a:gradFill>
        </p:spPr>
        <p:txBody>
          <a:bodyPr/>
          <a:lstStyle/>
          <a:p>
            <a:endParaRPr lang="ru-RU" dirty="0"/>
          </a:p>
        </p:txBody>
      </p:sp>
      <p:sp>
        <p:nvSpPr>
          <p:cNvPr id="32" name="Текст 5">
            <a:extLst>
              <a:ext uri="{FF2B5EF4-FFF2-40B4-BE49-F238E27FC236}">
                <a16:creationId xmlns:a16="http://schemas.microsoft.com/office/drawing/2014/main" id="{47DD4966-C08F-4CA4-9C11-0D5ECFC807DB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79425" y="3769491"/>
            <a:ext cx="2562082" cy="2219225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5">
            <a:extLst>
              <a:ext uri="{FF2B5EF4-FFF2-40B4-BE49-F238E27FC236}">
                <a16:creationId xmlns:a16="http://schemas.microsoft.com/office/drawing/2014/main" id="{A73BEF58-3682-4925-BDA3-1ED0CC839EA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3294229" y="3769491"/>
            <a:ext cx="2637634" cy="2219225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5">
            <a:extLst>
              <a:ext uri="{FF2B5EF4-FFF2-40B4-BE49-F238E27FC236}">
                <a16:creationId xmlns:a16="http://schemas.microsoft.com/office/drawing/2014/main" id="{1D475258-3D62-43ED-AAD6-947A6CEB3A1B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6184585" y="3769491"/>
            <a:ext cx="2637634" cy="2219225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5">
            <a:extLst>
              <a:ext uri="{FF2B5EF4-FFF2-40B4-BE49-F238E27FC236}">
                <a16:creationId xmlns:a16="http://schemas.microsoft.com/office/drawing/2014/main" id="{EC7B5840-084E-4054-9A92-3AC18766F48A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9074941" y="3769491"/>
            <a:ext cx="2637634" cy="2219225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6" name="Номер слайда 10">
            <a:extLst>
              <a:ext uri="{FF2B5EF4-FFF2-40B4-BE49-F238E27FC236}">
                <a16:creationId xmlns:a16="http://schemas.microsoft.com/office/drawing/2014/main" id="{8EBAB9EF-3A31-49B3-AA3D-64176EC2460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7FA1A119-D9FA-407C-BA00-0EE70A451C81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2">
            <a:extLst>
              <a:ext uri="{FF2B5EF4-FFF2-40B4-BE49-F238E27FC236}">
                <a16:creationId xmlns:a16="http://schemas.microsoft.com/office/drawing/2014/main" id="{B3647909-1777-47C8-8598-6D1A33BBF29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79424" y="904794"/>
            <a:ext cx="9820377" cy="563231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48973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ВЕТЛЫЙ">
    <p:bg>
      <p:bgPr>
        <a:gradFill>
          <a:gsLst>
            <a:gs pos="100000">
              <a:schemeClr val="accent3">
                <a:alpha val="50000"/>
              </a:schemeClr>
            </a:gs>
            <a:gs pos="0">
              <a:schemeClr val="accent2">
                <a:alpha val="50000"/>
              </a:schemeClr>
            </a:gs>
          </a:gsLst>
          <a:lin ang="9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C58855F-68D9-4A9C-91C9-6557B4795BE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106EF35-E5BD-47A4-B175-2B0AC323E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8862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снизу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42A80D81-6C29-4337-9764-F67621F86553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0" y="3429000"/>
            <a:ext cx="12192000" cy="3429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accent5"/>
              </a:gs>
            </a:gsLst>
            <a:lin ang="3600000" scaled="0"/>
          </a:gradFill>
        </p:spPr>
        <p:txBody>
          <a:bodyPr/>
          <a:lstStyle/>
          <a:p>
            <a:endParaRPr lang="ru-RU" dirty="0"/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2FAC52A8-9CD7-4E4B-812E-DB6C2DC26EFF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79425" y="1520825"/>
            <a:ext cx="3384550" cy="1925570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EDE4F482-03EF-48EF-BDDF-5EA580A60AB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367213" y="1520825"/>
            <a:ext cx="3457574" cy="1925570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A4F76254-0132-46F7-9B0C-31168A78A4F7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8291513" y="1520825"/>
            <a:ext cx="3484355" cy="1925570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ACFC77A-9760-43F2-88E2-55022A938FB3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295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0BC8BD0-C581-432F-BE28-618AF672B17D}"/>
              </a:ext>
            </a:extLst>
          </p:cNvPr>
          <p:cNvSpPr/>
          <p:nvPr/>
        </p:nvSpPr>
        <p:spPr>
          <a:xfrm flipH="1">
            <a:off x="13675" y="0"/>
            <a:ext cx="6550638" cy="4764101"/>
          </a:xfrm>
          <a:custGeom>
            <a:avLst/>
            <a:gdLst>
              <a:gd name="connsiteX0" fmla="*/ 6337168 w 6550638"/>
              <a:gd name="connsiteY0" fmla="*/ 4501 h 4764100"/>
              <a:gd name="connsiteX1" fmla="*/ 1981987 w 6550638"/>
              <a:gd name="connsiteY1" fmla="*/ 4551528 h 4764100"/>
              <a:gd name="connsiteX2" fmla="*/ 224968 w 6550638"/>
              <a:gd name="connsiteY2" fmla="*/ 2900229 h 4764100"/>
              <a:gd name="connsiteX3" fmla="*/ 4501 w 6550638"/>
              <a:gd name="connsiteY3" fmla="*/ 2900229 h 4764100"/>
              <a:gd name="connsiteX4" fmla="*/ 1987557 w 6550638"/>
              <a:gd name="connsiteY4" fmla="*/ 4763927 h 4764100"/>
              <a:gd name="connsiteX5" fmla="*/ 6546174 w 6550638"/>
              <a:gd name="connsiteY5" fmla="*/ 4501 h 4764100"/>
              <a:gd name="connsiteX6" fmla="*/ 6337168 w 6550638"/>
              <a:gd name="connsiteY6" fmla="*/ 4501 h 4764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638" h="4764100">
                <a:moveTo>
                  <a:pt x="6337168" y="4501"/>
                </a:moveTo>
                <a:lnTo>
                  <a:pt x="1981987" y="4551528"/>
                </a:lnTo>
                <a:lnTo>
                  <a:pt x="224968" y="2900229"/>
                </a:lnTo>
                <a:lnTo>
                  <a:pt x="4501" y="2900229"/>
                </a:lnTo>
                <a:lnTo>
                  <a:pt x="1987557" y="4763927"/>
                </a:lnTo>
                <a:lnTo>
                  <a:pt x="6546174" y="4501"/>
                </a:lnTo>
                <a:lnTo>
                  <a:pt x="6337168" y="4501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1F737472-516B-4559-949D-4BE9564965ED}"/>
              </a:ext>
            </a:extLst>
          </p:cNvPr>
          <p:cNvSpPr/>
          <p:nvPr/>
        </p:nvSpPr>
        <p:spPr>
          <a:xfrm flipH="1">
            <a:off x="8002300" y="1272906"/>
            <a:ext cx="4194201" cy="5583731"/>
          </a:xfrm>
          <a:custGeom>
            <a:avLst/>
            <a:gdLst>
              <a:gd name="connsiteX0" fmla="*/ 4501 w 4194201"/>
              <a:gd name="connsiteY0" fmla="*/ 2034366 h 5583731"/>
              <a:gd name="connsiteX1" fmla="*/ 2063309 w 4194201"/>
              <a:gd name="connsiteY1" fmla="*/ 3992898 h 5583731"/>
              <a:gd name="connsiteX2" fmla="*/ 400933 w 4194201"/>
              <a:gd name="connsiteY2" fmla="*/ 5585222 h 5583731"/>
              <a:gd name="connsiteX3" fmla="*/ 2527297 w 4194201"/>
              <a:gd name="connsiteY3" fmla="*/ 5585222 h 5583731"/>
              <a:gd name="connsiteX4" fmla="*/ 4193451 w 4194201"/>
              <a:gd name="connsiteY4" fmla="*/ 3989376 h 5583731"/>
              <a:gd name="connsiteX5" fmla="*/ 4501 w 4194201"/>
              <a:gd name="connsiteY5" fmla="*/ 4501 h 5583731"/>
              <a:gd name="connsiteX6" fmla="*/ 4501 w 4194201"/>
              <a:gd name="connsiteY6" fmla="*/ 2034366 h 5583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4201" h="5583731">
                <a:moveTo>
                  <a:pt x="4501" y="2034366"/>
                </a:moveTo>
                <a:lnTo>
                  <a:pt x="2063309" y="3992898"/>
                </a:lnTo>
                <a:lnTo>
                  <a:pt x="400933" y="5585222"/>
                </a:lnTo>
                <a:lnTo>
                  <a:pt x="2527297" y="5585222"/>
                </a:lnTo>
                <a:lnTo>
                  <a:pt x="4193451" y="3989376"/>
                </a:lnTo>
                <a:lnTo>
                  <a:pt x="4501" y="4501"/>
                </a:lnTo>
                <a:lnTo>
                  <a:pt x="4501" y="2034366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noFill/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195D556-51B6-4669-A0C2-A7CE6E683C4A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13">
            <a:extLst>
              <a:ext uri="{FF2B5EF4-FFF2-40B4-BE49-F238E27FC236}">
                <a16:creationId xmlns:a16="http://schemas.microsoft.com/office/drawing/2014/main" id="{C57F9293-0A46-4954-873A-F879549758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0"/>
            <a:ext cx="5148263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7419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92E24BA1-2279-43F2-8E51-782A9ED052EB}"/>
              </a:ext>
            </a:extLst>
          </p:cNvPr>
          <p:cNvSpPr/>
          <p:nvPr/>
        </p:nvSpPr>
        <p:spPr>
          <a:xfrm flipH="1">
            <a:off x="2950607" y="0"/>
            <a:ext cx="6541673" cy="4759426"/>
          </a:xfrm>
          <a:custGeom>
            <a:avLst/>
            <a:gdLst>
              <a:gd name="connsiteX0" fmla="*/ 6332668 w 6541673"/>
              <a:gd name="connsiteY0" fmla="*/ 0 h 4759426"/>
              <a:gd name="connsiteX1" fmla="*/ 1977486 w 6541673"/>
              <a:gd name="connsiteY1" fmla="*/ 4547027 h 4759426"/>
              <a:gd name="connsiteX2" fmla="*/ 220468 w 6541673"/>
              <a:gd name="connsiteY2" fmla="*/ 2895728 h 4759426"/>
              <a:gd name="connsiteX3" fmla="*/ 0 w 6541673"/>
              <a:gd name="connsiteY3" fmla="*/ 2895728 h 4759426"/>
              <a:gd name="connsiteX4" fmla="*/ 1983057 w 6541673"/>
              <a:gd name="connsiteY4" fmla="*/ 4759427 h 4759426"/>
              <a:gd name="connsiteX5" fmla="*/ 6541674 w 6541673"/>
              <a:gd name="connsiteY5" fmla="*/ 0 h 4759426"/>
              <a:gd name="connsiteX6" fmla="*/ 6332668 w 6541673"/>
              <a:gd name="connsiteY6" fmla="*/ 0 h 475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1673" h="4759426">
                <a:moveTo>
                  <a:pt x="6332668" y="0"/>
                </a:moveTo>
                <a:lnTo>
                  <a:pt x="1977486" y="4547027"/>
                </a:lnTo>
                <a:lnTo>
                  <a:pt x="220468" y="2895728"/>
                </a:lnTo>
                <a:lnTo>
                  <a:pt x="0" y="2895728"/>
                </a:lnTo>
                <a:lnTo>
                  <a:pt x="1983057" y="4759427"/>
                </a:lnTo>
                <a:lnTo>
                  <a:pt x="6541674" y="0"/>
                </a:lnTo>
                <a:lnTo>
                  <a:pt x="6332668" y="0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3F15BCAA-5412-401A-9C27-0923A7272363}"/>
              </a:ext>
            </a:extLst>
          </p:cNvPr>
          <p:cNvSpPr/>
          <p:nvPr/>
        </p:nvSpPr>
        <p:spPr>
          <a:xfrm flipH="1">
            <a:off x="8003050" y="1277406"/>
            <a:ext cx="4188950" cy="5580721"/>
          </a:xfrm>
          <a:custGeom>
            <a:avLst/>
            <a:gdLst>
              <a:gd name="connsiteX0" fmla="*/ 0 w 4188950"/>
              <a:gd name="connsiteY0" fmla="*/ 2029866 h 5580721"/>
              <a:gd name="connsiteX1" fmla="*/ 2058809 w 4188950"/>
              <a:gd name="connsiteY1" fmla="*/ 3988398 h 5580721"/>
              <a:gd name="connsiteX2" fmla="*/ 396432 w 4188950"/>
              <a:gd name="connsiteY2" fmla="*/ 5580722 h 5580721"/>
              <a:gd name="connsiteX3" fmla="*/ 2522796 w 4188950"/>
              <a:gd name="connsiteY3" fmla="*/ 5580722 h 5580721"/>
              <a:gd name="connsiteX4" fmla="*/ 4188951 w 4188950"/>
              <a:gd name="connsiteY4" fmla="*/ 3984876 h 5580721"/>
              <a:gd name="connsiteX5" fmla="*/ 0 w 4188950"/>
              <a:gd name="connsiteY5" fmla="*/ 0 h 5580721"/>
              <a:gd name="connsiteX6" fmla="*/ 0 w 4188950"/>
              <a:gd name="connsiteY6" fmla="*/ 2029866 h 558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88950" h="5580721">
                <a:moveTo>
                  <a:pt x="0" y="2029866"/>
                </a:moveTo>
                <a:lnTo>
                  <a:pt x="2058809" y="3988398"/>
                </a:lnTo>
                <a:lnTo>
                  <a:pt x="396432" y="5580722"/>
                </a:lnTo>
                <a:lnTo>
                  <a:pt x="2522796" y="5580722"/>
                </a:lnTo>
                <a:lnTo>
                  <a:pt x="4188951" y="3984876"/>
                </a:lnTo>
                <a:lnTo>
                  <a:pt x="0" y="0"/>
                </a:lnTo>
                <a:lnTo>
                  <a:pt x="0" y="2029866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91513" y="0"/>
            <a:ext cx="3900487" cy="6858000"/>
          </a:xfrm>
          <a:prstGeom prst="rect">
            <a:avLst/>
          </a:prstGeom>
          <a:noFill/>
        </p:spPr>
        <p:txBody>
          <a:bodyPr/>
          <a:lstStyle/>
          <a:p>
            <a:endParaRPr lang="ru-RU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A6B1815F-065C-4185-8050-9D80CC1CDC21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CC14AE19-61E2-42E5-BBCA-176803E985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1520824"/>
            <a:ext cx="3384550" cy="4461543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69570BE0-CC6B-46F4-86F2-872007EE22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213" y="1520824"/>
            <a:ext cx="3457575" cy="4461543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B49AE19-BC60-4BF0-9089-EFF96B265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475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снизу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42A80D81-6C29-4337-9764-F67621F86553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E5B261B8-9D5B-47AF-B63C-5F1A2831E94C}"/>
              </a:ext>
            </a:extLst>
          </p:cNvPr>
          <p:cNvSpPr>
            <a:spLocks noChangeAspect="1"/>
          </p:cNvSpPr>
          <p:nvPr/>
        </p:nvSpPr>
        <p:spPr>
          <a:xfrm>
            <a:off x="4340433" y="4065814"/>
            <a:ext cx="3511134" cy="2792186"/>
          </a:xfrm>
          <a:custGeom>
            <a:avLst/>
            <a:gdLst>
              <a:gd name="connsiteX0" fmla="*/ 327485 w 2262394"/>
              <a:gd name="connsiteY0" fmla="*/ 1792332 h 1799142"/>
              <a:gd name="connsiteX1" fmla="*/ 2254291 w 2262394"/>
              <a:gd name="connsiteY1" fmla="*/ 9134 h 1799142"/>
              <a:gd name="connsiteX2" fmla="*/ 1935940 w 2262394"/>
              <a:gd name="connsiteY2" fmla="*/ 9134 h 1799142"/>
              <a:gd name="connsiteX3" fmla="*/ 9134 w 2262394"/>
              <a:gd name="connsiteY3" fmla="*/ 1792332 h 1799142"/>
              <a:gd name="connsiteX4" fmla="*/ 327485 w 2262394"/>
              <a:gd name="connsiteY4" fmla="*/ 1792332 h 179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2394" h="1799142">
                <a:moveTo>
                  <a:pt x="327485" y="1792332"/>
                </a:moveTo>
                <a:lnTo>
                  <a:pt x="2254291" y="9134"/>
                </a:lnTo>
                <a:lnTo>
                  <a:pt x="1935940" y="9134"/>
                </a:lnTo>
                <a:lnTo>
                  <a:pt x="9134" y="1792332"/>
                </a:lnTo>
                <a:lnTo>
                  <a:pt x="327485" y="1792332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0" y="3429000"/>
            <a:ext cx="12192000" cy="3429000"/>
          </a:xfrm>
          <a:prstGeom prst="rect">
            <a:avLst/>
          </a:prstGeom>
          <a:noFill/>
        </p:spPr>
        <p:txBody>
          <a:bodyPr/>
          <a:lstStyle/>
          <a:p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6C0DB37-D223-4696-A98E-D0BE5F36E1C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79425" y="1520825"/>
            <a:ext cx="3384550" cy="1925569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F60D41A1-BD52-4473-BF46-A4747FF05A5F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367212" y="1520825"/>
            <a:ext cx="3457575" cy="1925569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AA588D58-B1F0-49FE-91F0-B97AE2BFFF1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8291514" y="1520825"/>
            <a:ext cx="3457574" cy="1925569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780AEBC-C8AC-44F5-80C1-95D140FA9EFF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7DE032D-89C9-4C8F-84A2-4B67DB4E74ED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375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8762DBA4-121A-4F23-9651-53F6D8CBCC9C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23F623A3-2F72-4BA4-85E8-7E73ED881C8D}"/>
              </a:ext>
            </a:extLst>
          </p:cNvPr>
          <p:cNvSpPr>
            <a:spLocks noChangeAspect="1"/>
          </p:cNvSpPr>
          <p:nvPr/>
        </p:nvSpPr>
        <p:spPr>
          <a:xfrm>
            <a:off x="4340433" y="4065814"/>
            <a:ext cx="3511134" cy="2792186"/>
          </a:xfrm>
          <a:custGeom>
            <a:avLst/>
            <a:gdLst>
              <a:gd name="connsiteX0" fmla="*/ 327485 w 2262394"/>
              <a:gd name="connsiteY0" fmla="*/ 1792332 h 1799142"/>
              <a:gd name="connsiteX1" fmla="*/ 2254291 w 2262394"/>
              <a:gd name="connsiteY1" fmla="*/ 9134 h 1799142"/>
              <a:gd name="connsiteX2" fmla="*/ 1935940 w 2262394"/>
              <a:gd name="connsiteY2" fmla="*/ 9134 h 1799142"/>
              <a:gd name="connsiteX3" fmla="*/ 9134 w 2262394"/>
              <a:gd name="connsiteY3" fmla="*/ 1792332 h 1799142"/>
              <a:gd name="connsiteX4" fmla="*/ 327485 w 2262394"/>
              <a:gd name="connsiteY4" fmla="*/ 1792332 h 179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2394" h="1799142">
                <a:moveTo>
                  <a:pt x="327485" y="1792332"/>
                </a:moveTo>
                <a:lnTo>
                  <a:pt x="2254291" y="9134"/>
                </a:lnTo>
                <a:lnTo>
                  <a:pt x="1935940" y="9134"/>
                </a:lnTo>
                <a:lnTo>
                  <a:pt x="9134" y="1792332"/>
                </a:lnTo>
                <a:lnTo>
                  <a:pt x="327485" y="1792332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4D04BAA-6BBD-4935-8640-97CCD61909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0" y="0"/>
            <a:ext cx="4151086" cy="6858000"/>
          </a:xfrm>
          <a:prstGeom prst="rect">
            <a:avLst/>
          </a:prstGeom>
          <a:noFill/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5EE8-0C7E-4C13-9EB1-A5A8BBE234C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83112" y="904794"/>
            <a:ext cx="5830888" cy="5632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D45D242A-39C8-4F81-9DF7-C831EF78FF1F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Текст 5">
            <a:extLst>
              <a:ext uri="{FF2B5EF4-FFF2-40B4-BE49-F238E27FC236}">
                <a16:creationId xmlns:a16="http://schemas.microsoft.com/office/drawing/2014/main" id="{1B024FBD-46DA-4EBA-A25E-EE89592695D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583112" y="1520825"/>
            <a:ext cx="3241676" cy="4467893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3">
            <a:extLst>
              <a:ext uri="{FF2B5EF4-FFF2-40B4-BE49-F238E27FC236}">
                <a16:creationId xmlns:a16="http://schemas.microsoft.com/office/drawing/2014/main" id="{3D66A8B9-6428-414D-A058-F3A17E6498CC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8330991" y="1520825"/>
            <a:ext cx="3357771" cy="4467893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455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2 снизу">
    <p:bg>
      <p:bgPr>
        <a:gradFill>
          <a:gsLst>
            <a:gs pos="0">
              <a:schemeClr val="tx1"/>
            </a:gs>
            <a:gs pos="100000">
              <a:schemeClr val="tx2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42A80D81-6C29-4337-9764-F67621F86553}"/>
              </a:ext>
            </a:extLst>
          </p:cNvPr>
          <p:cNvSpPr/>
          <p:nvPr/>
        </p:nvSpPr>
        <p:spPr>
          <a:xfrm>
            <a:off x="839788" y="0"/>
            <a:ext cx="10219969" cy="6014357"/>
          </a:xfrm>
          <a:custGeom>
            <a:avLst/>
            <a:gdLst>
              <a:gd name="connsiteX0" fmla="*/ 6303331 w 9922216"/>
              <a:gd name="connsiteY0" fmla="*/ 9134 h 5839133"/>
              <a:gd name="connsiteX1" fmla="*/ 9134 w 9922216"/>
              <a:gd name="connsiteY1" fmla="*/ 5834370 h 5839133"/>
              <a:gd name="connsiteX2" fmla="*/ 3628104 w 9922216"/>
              <a:gd name="connsiteY2" fmla="*/ 5834370 h 5839133"/>
              <a:gd name="connsiteX3" fmla="*/ 9922300 w 9922216"/>
              <a:gd name="connsiteY3" fmla="*/ 9134 h 5839133"/>
              <a:gd name="connsiteX4" fmla="*/ 6303331 w 9922216"/>
              <a:gd name="connsiteY4" fmla="*/ 9134 h 5839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2216" h="5839133">
                <a:moveTo>
                  <a:pt x="6303331" y="9134"/>
                </a:moveTo>
                <a:lnTo>
                  <a:pt x="9134" y="5834370"/>
                </a:lnTo>
                <a:lnTo>
                  <a:pt x="3628104" y="5834370"/>
                </a:lnTo>
                <a:lnTo>
                  <a:pt x="9922300" y="9134"/>
                </a:lnTo>
                <a:lnTo>
                  <a:pt x="6303331" y="9134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E5B261B8-9D5B-47AF-B63C-5F1A2831E94C}"/>
              </a:ext>
            </a:extLst>
          </p:cNvPr>
          <p:cNvSpPr>
            <a:spLocks noChangeAspect="1"/>
          </p:cNvSpPr>
          <p:nvPr/>
        </p:nvSpPr>
        <p:spPr>
          <a:xfrm>
            <a:off x="4340433" y="4065814"/>
            <a:ext cx="3511134" cy="2792186"/>
          </a:xfrm>
          <a:custGeom>
            <a:avLst/>
            <a:gdLst>
              <a:gd name="connsiteX0" fmla="*/ 327485 w 2262394"/>
              <a:gd name="connsiteY0" fmla="*/ 1792332 h 1799142"/>
              <a:gd name="connsiteX1" fmla="*/ 2254291 w 2262394"/>
              <a:gd name="connsiteY1" fmla="*/ 9134 h 1799142"/>
              <a:gd name="connsiteX2" fmla="*/ 1935940 w 2262394"/>
              <a:gd name="connsiteY2" fmla="*/ 9134 h 1799142"/>
              <a:gd name="connsiteX3" fmla="*/ 9134 w 2262394"/>
              <a:gd name="connsiteY3" fmla="*/ 1792332 h 1799142"/>
              <a:gd name="connsiteX4" fmla="*/ 327485 w 2262394"/>
              <a:gd name="connsiteY4" fmla="*/ 1792332 h 179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2394" h="1799142">
                <a:moveTo>
                  <a:pt x="327485" y="1792332"/>
                </a:moveTo>
                <a:lnTo>
                  <a:pt x="2254291" y="9134"/>
                </a:lnTo>
                <a:lnTo>
                  <a:pt x="1935940" y="9134"/>
                </a:lnTo>
                <a:lnTo>
                  <a:pt x="9134" y="1792332"/>
                </a:lnTo>
                <a:lnTo>
                  <a:pt x="327485" y="1792332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0A5713F-3263-455A-8B65-5A72F80D4959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6C0DB37-D223-4696-A98E-D0BE5F36E1C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79425" y="1520825"/>
            <a:ext cx="3384550" cy="446405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F60D41A1-BD52-4473-BF46-A4747FF05A5F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367212" y="1520825"/>
            <a:ext cx="3457575" cy="44640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AA588D58-B1F0-49FE-91F0-B97AE2BFFF1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8291514" y="1520825"/>
            <a:ext cx="3457574" cy="44640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780AEBC-C8AC-44F5-80C1-95D140FA9EFF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C7D1755A-7002-4814-B301-6BB93171020E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931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39492711-A301-421D-95ED-DDCE93C4D5B3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82360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2D2C650-7011-44D3-A578-2D9B09AA1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798585"/>
            <a:ext cx="1857430" cy="523220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A8A10EA7-86E3-4F00-9F14-DB74C2B112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44232" y="3499257"/>
            <a:ext cx="6870985" cy="923330"/>
          </a:xfrm>
          <a:prstGeom prst="rect">
            <a:avLst/>
          </a:prstGeom>
          <a:ln w="15875">
            <a:noFill/>
            <a:prstDash val="solid"/>
            <a:extLst>
              <a:ext uri="{C807C97D-BFC1-408E-A445-0C87EB9F89A2}">
                <ask:lineSketchStyleProps xmlns:ask="http://schemas.microsoft.com/office/drawing/2018/sketchyshapes" xmlns="" sd="1219033472">
                  <a:custGeom>
                    <a:avLst/>
                    <a:gdLst>
                      <a:gd name="connsiteX0" fmla="*/ 0 w 3091776"/>
                      <a:gd name="connsiteY0" fmla="*/ 0 h 525886"/>
                      <a:gd name="connsiteX1" fmla="*/ 577132 w 3091776"/>
                      <a:gd name="connsiteY1" fmla="*/ 0 h 525886"/>
                      <a:gd name="connsiteX2" fmla="*/ 1123345 w 3091776"/>
                      <a:gd name="connsiteY2" fmla="*/ 0 h 525886"/>
                      <a:gd name="connsiteX3" fmla="*/ 1669559 w 3091776"/>
                      <a:gd name="connsiteY3" fmla="*/ 0 h 525886"/>
                      <a:gd name="connsiteX4" fmla="*/ 2092102 w 3091776"/>
                      <a:gd name="connsiteY4" fmla="*/ 0 h 525886"/>
                      <a:gd name="connsiteX5" fmla="*/ 2545562 w 3091776"/>
                      <a:gd name="connsiteY5" fmla="*/ 0 h 525886"/>
                      <a:gd name="connsiteX6" fmla="*/ 3091776 w 3091776"/>
                      <a:gd name="connsiteY6" fmla="*/ 0 h 525886"/>
                      <a:gd name="connsiteX7" fmla="*/ 3091776 w 3091776"/>
                      <a:gd name="connsiteY7" fmla="*/ 525886 h 525886"/>
                      <a:gd name="connsiteX8" fmla="*/ 2576480 w 3091776"/>
                      <a:gd name="connsiteY8" fmla="*/ 525886 h 525886"/>
                      <a:gd name="connsiteX9" fmla="*/ 2153937 w 3091776"/>
                      <a:gd name="connsiteY9" fmla="*/ 525886 h 525886"/>
                      <a:gd name="connsiteX10" fmla="*/ 1731395 w 3091776"/>
                      <a:gd name="connsiteY10" fmla="*/ 525886 h 525886"/>
                      <a:gd name="connsiteX11" fmla="*/ 1185181 w 3091776"/>
                      <a:gd name="connsiteY11" fmla="*/ 525886 h 525886"/>
                      <a:gd name="connsiteX12" fmla="*/ 731720 w 3091776"/>
                      <a:gd name="connsiteY12" fmla="*/ 525886 h 525886"/>
                      <a:gd name="connsiteX13" fmla="*/ 0 w 3091776"/>
                      <a:gd name="connsiteY13" fmla="*/ 525886 h 525886"/>
                      <a:gd name="connsiteX14" fmla="*/ 0 w 3091776"/>
                      <a:gd name="connsiteY14" fmla="*/ 0 h 5258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091776" h="525886" fill="none" extrusionOk="0">
                        <a:moveTo>
                          <a:pt x="0" y="0"/>
                        </a:moveTo>
                        <a:cubicBezTo>
                          <a:pt x="282635" y="-48768"/>
                          <a:pt x="372431" y="27901"/>
                          <a:pt x="577132" y="0"/>
                        </a:cubicBezTo>
                        <a:cubicBezTo>
                          <a:pt x="781833" y="-27901"/>
                          <a:pt x="890596" y="6719"/>
                          <a:pt x="1123345" y="0"/>
                        </a:cubicBezTo>
                        <a:cubicBezTo>
                          <a:pt x="1356094" y="-6719"/>
                          <a:pt x="1442060" y="18219"/>
                          <a:pt x="1669559" y="0"/>
                        </a:cubicBezTo>
                        <a:cubicBezTo>
                          <a:pt x="1897058" y="-18219"/>
                          <a:pt x="1898509" y="43128"/>
                          <a:pt x="2092102" y="0"/>
                        </a:cubicBezTo>
                        <a:cubicBezTo>
                          <a:pt x="2285695" y="-43128"/>
                          <a:pt x="2355569" y="221"/>
                          <a:pt x="2545562" y="0"/>
                        </a:cubicBezTo>
                        <a:cubicBezTo>
                          <a:pt x="2735555" y="-221"/>
                          <a:pt x="2868180" y="26909"/>
                          <a:pt x="3091776" y="0"/>
                        </a:cubicBezTo>
                        <a:cubicBezTo>
                          <a:pt x="3140391" y="230061"/>
                          <a:pt x="3048430" y="307866"/>
                          <a:pt x="3091776" y="525886"/>
                        </a:cubicBezTo>
                        <a:cubicBezTo>
                          <a:pt x="2918221" y="534408"/>
                          <a:pt x="2698036" y="515776"/>
                          <a:pt x="2576480" y="525886"/>
                        </a:cubicBezTo>
                        <a:cubicBezTo>
                          <a:pt x="2454924" y="535996"/>
                          <a:pt x="2254290" y="499003"/>
                          <a:pt x="2153937" y="525886"/>
                        </a:cubicBezTo>
                        <a:cubicBezTo>
                          <a:pt x="2053584" y="552769"/>
                          <a:pt x="1821072" y="498996"/>
                          <a:pt x="1731395" y="525886"/>
                        </a:cubicBezTo>
                        <a:cubicBezTo>
                          <a:pt x="1641718" y="552776"/>
                          <a:pt x="1336948" y="492118"/>
                          <a:pt x="1185181" y="525886"/>
                        </a:cubicBezTo>
                        <a:cubicBezTo>
                          <a:pt x="1033414" y="559654"/>
                          <a:pt x="836317" y="492633"/>
                          <a:pt x="731720" y="525886"/>
                        </a:cubicBezTo>
                        <a:cubicBezTo>
                          <a:pt x="627123" y="559139"/>
                          <a:pt x="315465" y="506442"/>
                          <a:pt x="0" y="525886"/>
                        </a:cubicBezTo>
                        <a:cubicBezTo>
                          <a:pt x="-24556" y="410069"/>
                          <a:pt x="45633" y="178409"/>
                          <a:pt x="0" y="0"/>
                        </a:cubicBezTo>
                        <a:close/>
                      </a:path>
                      <a:path w="3091776" h="525886" stroke="0" extrusionOk="0">
                        <a:moveTo>
                          <a:pt x="0" y="0"/>
                        </a:moveTo>
                        <a:cubicBezTo>
                          <a:pt x="176082" y="-14347"/>
                          <a:pt x="367043" y="23865"/>
                          <a:pt x="484378" y="0"/>
                        </a:cubicBezTo>
                        <a:cubicBezTo>
                          <a:pt x="601713" y="-23865"/>
                          <a:pt x="770718" y="214"/>
                          <a:pt x="906921" y="0"/>
                        </a:cubicBezTo>
                        <a:cubicBezTo>
                          <a:pt x="1043124" y="-214"/>
                          <a:pt x="1350635" y="45027"/>
                          <a:pt x="1484052" y="0"/>
                        </a:cubicBezTo>
                        <a:cubicBezTo>
                          <a:pt x="1617469" y="-45027"/>
                          <a:pt x="1845321" y="52850"/>
                          <a:pt x="1968431" y="0"/>
                        </a:cubicBezTo>
                        <a:cubicBezTo>
                          <a:pt x="2091541" y="-52850"/>
                          <a:pt x="2318537" y="49329"/>
                          <a:pt x="2452809" y="0"/>
                        </a:cubicBezTo>
                        <a:cubicBezTo>
                          <a:pt x="2587081" y="-49329"/>
                          <a:pt x="2915392" y="63984"/>
                          <a:pt x="3091776" y="0"/>
                        </a:cubicBezTo>
                        <a:cubicBezTo>
                          <a:pt x="3123081" y="162562"/>
                          <a:pt x="3073463" y="375592"/>
                          <a:pt x="3091776" y="525886"/>
                        </a:cubicBezTo>
                        <a:cubicBezTo>
                          <a:pt x="2883693" y="531029"/>
                          <a:pt x="2706600" y="466009"/>
                          <a:pt x="2576480" y="525886"/>
                        </a:cubicBezTo>
                        <a:cubicBezTo>
                          <a:pt x="2446360" y="585763"/>
                          <a:pt x="2303221" y="513487"/>
                          <a:pt x="2153937" y="525886"/>
                        </a:cubicBezTo>
                        <a:cubicBezTo>
                          <a:pt x="2004653" y="538285"/>
                          <a:pt x="1789486" y="485022"/>
                          <a:pt x="1638641" y="525886"/>
                        </a:cubicBezTo>
                        <a:cubicBezTo>
                          <a:pt x="1487796" y="566750"/>
                          <a:pt x="1334450" y="519784"/>
                          <a:pt x="1123345" y="525886"/>
                        </a:cubicBezTo>
                        <a:cubicBezTo>
                          <a:pt x="912240" y="531988"/>
                          <a:pt x="867646" y="480634"/>
                          <a:pt x="638967" y="525886"/>
                        </a:cubicBezTo>
                        <a:cubicBezTo>
                          <a:pt x="410288" y="571138"/>
                          <a:pt x="196109" y="460398"/>
                          <a:pt x="0" y="525886"/>
                        </a:cubicBezTo>
                        <a:cubicBezTo>
                          <a:pt x="-36747" y="380854"/>
                          <a:pt x="47815" y="17362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0" tIns="0" rIns="0" bIns="0" anchor="t" anchorCtr="0">
            <a:no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None/>
              <a:defRPr lang="ru-RU" sz="2000" b="0" baseline="0">
                <a:solidFill>
                  <a:schemeClr val="bg2"/>
                </a:solidFill>
                <a:latin typeface="+mn-lt"/>
                <a:ea typeface="+mj-ea"/>
                <a:cs typeface="Segoe UI"/>
              </a:defRPr>
            </a:lvl1pPr>
            <a:lvl2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2pPr>
            <a:lvl3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3pPr>
            <a:lvl4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4pPr>
            <a:lvl5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5pPr>
          </a:lstStyle>
          <a:p>
            <a:pPr lvl="0">
              <a:defRPr/>
            </a:pPr>
            <a:r>
              <a:rPr lang="ru-RU" dirty="0"/>
              <a:t>Дополнительный текст в три строки </a:t>
            </a:r>
            <a:endParaRPr dirty="0"/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13DEB56E-BF5F-42C2-83AC-DA1458ED88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839787" y="2261569"/>
            <a:ext cx="6877051" cy="1109282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85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ru-RU" dirty="0"/>
              <a:t>Образец заголовка </a:t>
            </a:r>
            <a:endParaRPr dirty="0"/>
          </a:p>
        </p:txBody>
      </p:sp>
      <p:sp>
        <p:nvSpPr>
          <p:cNvPr id="17" name="Рисунок 15">
            <a:extLst>
              <a:ext uri="{FF2B5EF4-FFF2-40B4-BE49-F238E27FC236}">
                <a16:creationId xmlns:a16="http://schemas.microsoft.com/office/drawing/2014/main" id="{D50681CE-2FA7-4EA9-858D-04F51337DFE5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6797994" y="788144"/>
            <a:ext cx="4575494" cy="5281712"/>
          </a:xfrm>
          <a:prstGeom prst="chevron">
            <a:avLst>
              <a:gd name="adj" fmla="val 56939"/>
            </a:avLst>
          </a:prstGeom>
          <a:solidFill>
            <a:schemeClr val="accent4"/>
          </a:solidFill>
        </p:spPr>
        <p:txBody>
          <a:bodyPr wrap="none"/>
          <a:lstStyle/>
          <a:p>
            <a:endParaRPr lang="ru-RU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FC239F4E-0139-458E-BB9A-B2E10B7AEF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844233" y="5885190"/>
            <a:ext cx="5035867" cy="184666"/>
          </a:xfrm>
          <a:prstGeom prst="rect">
            <a:avLst/>
          </a:prstGeom>
          <a:ln w="15875">
            <a:noFill/>
            <a:prstDash val="solid"/>
            <a:extLst>
              <a:ext uri="{C807C97D-BFC1-408E-A445-0C87EB9F89A2}">
                <ask:lineSketchStyleProps xmlns:ask="http://schemas.microsoft.com/office/drawing/2018/sketchyshapes" xmlns="" sd="1219033472">
                  <a:custGeom>
                    <a:avLst/>
                    <a:gdLst>
                      <a:gd name="connsiteX0" fmla="*/ 0 w 3091776"/>
                      <a:gd name="connsiteY0" fmla="*/ 0 h 525886"/>
                      <a:gd name="connsiteX1" fmla="*/ 577132 w 3091776"/>
                      <a:gd name="connsiteY1" fmla="*/ 0 h 525886"/>
                      <a:gd name="connsiteX2" fmla="*/ 1123345 w 3091776"/>
                      <a:gd name="connsiteY2" fmla="*/ 0 h 525886"/>
                      <a:gd name="connsiteX3" fmla="*/ 1669559 w 3091776"/>
                      <a:gd name="connsiteY3" fmla="*/ 0 h 525886"/>
                      <a:gd name="connsiteX4" fmla="*/ 2092102 w 3091776"/>
                      <a:gd name="connsiteY4" fmla="*/ 0 h 525886"/>
                      <a:gd name="connsiteX5" fmla="*/ 2545562 w 3091776"/>
                      <a:gd name="connsiteY5" fmla="*/ 0 h 525886"/>
                      <a:gd name="connsiteX6" fmla="*/ 3091776 w 3091776"/>
                      <a:gd name="connsiteY6" fmla="*/ 0 h 525886"/>
                      <a:gd name="connsiteX7" fmla="*/ 3091776 w 3091776"/>
                      <a:gd name="connsiteY7" fmla="*/ 525886 h 525886"/>
                      <a:gd name="connsiteX8" fmla="*/ 2576480 w 3091776"/>
                      <a:gd name="connsiteY8" fmla="*/ 525886 h 525886"/>
                      <a:gd name="connsiteX9" fmla="*/ 2153937 w 3091776"/>
                      <a:gd name="connsiteY9" fmla="*/ 525886 h 525886"/>
                      <a:gd name="connsiteX10" fmla="*/ 1731395 w 3091776"/>
                      <a:gd name="connsiteY10" fmla="*/ 525886 h 525886"/>
                      <a:gd name="connsiteX11" fmla="*/ 1185181 w 3091776"/>
                      <a:gd name="connsiteY11" fmla="*/ 525886 h 525886"/>
                      <a:gd name="connsiteX12" fmla="*/ 731720 w 3091776"/>
                      <a:gd name="connsiteY12" fmla="*/ 525886 h 525886"/>
                      <a:gd name="connsiteX13" fmla="*/ 0 w 3091776"/>
                      <a:gd name="connsiteY13" fmla="*/ 525886 h 525886"/>
                      <a:gd name="connsiteX14" fmla="*/ 0 w 3091776"/>
                      <a:gd name="connsiteY14" fmla="*/ 0 h 5258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091776" h="525886" fill="none" extrusionOk="0">
                        <a:moveTo>
                          <a:pt x="0" y="0"/>
                        </a:moveTo>
                        <a:cubicBezTo>
                          <a:pt x="282635" y="-48768"/>
                          <a:pt x="372431" y="27901"/>
                          <a:pt x="577132" y="0"/>
                        </a:cubicBezTo>
                        <a:cubicBezTo>
                          <a:pt x="781833" y="-27901"/>
                          <a:pt x="890596" y="6719"/>
                          <a:pt x="1123345" y="0"/>
                        </a:cubicBezTo>
                        <a:cubicBezTo>
                          <a:pt x="1356094" y="-6719"/>
                          <a:pt x="1442060" y="18219"/>
                          <a:pt x="1669559" y="0"/>
                        </a:cubicBezTo>
                        <a:cubicBezTo>
                          <a:pt x="1897058" y="-18219"/>
                          <a:pt x="1898509" y="43128"/>
                          <a:pt x="2092102" y="0"/>
                        </a:cubicBezTo>
                        <a:cubicBezTo>
                          <a:pt x="2285695" y="-43128"/>
                          <a:pt x="2355569" y="221"/>
                          <a:pt x="2545562" y="0"/>
                        </a:cubicBezTo>
                        <a:cubicBezTo>
                          <a:pt x="2735555" y="-221"/>
                          <a:pt x="2868180" y="26909"/>
                          <a:pt x="3091776" y="0"/>
                        </a:cubicBezTo>
                        <a:cubicBezTo>
                          <a:pt x="3140391" y="230061"/>
                          <a:pt x="3048430" y="307866"/>
                          <a:pt x="3091776" y="525886"/>
                        </a:cubicBezTo>
                        <a:cubicBezTo>
                          <a:pt x="2918221" y="534408"/>
                          <a:pt x="2698036" y="515776"/>
                          <a:pt x="2576480" y="525886"/>
                        </a:cubicBezTo>
                        <a:cubicBezTo>
                          <a:pt x="2454924" y="535996"/>
                          <a:pt x="2254290" y="499003"/>
                          <a:pt x="2153937" y="525886"/>
                        </a:cubicBezTo>
                        <a:cubicBezTo>
                          <a:pt x="2053584" y="552769"/>
                          <a:pt x="1821072" y="498996"/>
                          <a:pt x="1731395" y="525886"/>
                        </a:cubicBezTo>
                        <a:cubicBezTo>
                          <a:pt x="1641718" y="552776"/>
                          <a:pt x="1336948" y="492118"/>
                          <a:pt x="1185181" y="525886"/>
                        </a:cubicBezTo>
                        <a:cubicBezTo>
                          <a:pt x="1033414" y="559654"/>
                          <a:pt x="836317" y="492633"/>
                          <a:pt x="731720" y="525886"/>
                        </a:cubicBezTo>
                        <a:cubicBezTo>
                          <a:pt x="627123" y="559139"/>
                          <a:pt x="315465" y="506442"/>
                          <a:pt x="0" y="525886"/>
                        </a:cubicBezTo>
                        <a:cubicBezTo>
                          <a:pt x="-24556" y="410069"/>
                          <a:pt x="45633" y="178409"/>
                          <a:pt x="0" y="0"/>
                        </a:cubicBezTo>
                        <a:close/>
                      </a:path>
                      <a:path w="3091776" h="525886" stroke="0" extrusionOk="0">
                        <a:moveTo>
                          <a:pt x="0" y="0"/>
                        </a:moveTo>
                        <a:cubicBezTo>
                          <a:pt x="176082" y="-14347"/>
                          <a:pt x="367043" y="23865"/>
                          <a:pt x="484378" y="0"/>
                        </a:cubicBezTo>
                        <a:cubicBezTo>
                          <a:pt x="601713" y="-23865"/>
                          <a:pt x="770718" y="214"/>
                          <a:pt x="906921" y="0"/>
                        </a:cubicBezTo>
                        <a:cubicBezTo>
                          <a:pt x="1043124" y="-214"/>
                          <a:pt x="1350635" y="45027"/>
                          <a:pt x="1484052" y="0"/>
                        </a:cubicBezTo>
                        <a:cubicBezTo>
                          <a:pt x="1617469" y="-45027"/>
                          <a:pt x="1845321" y="52850"/>
                          <a:pt x="1968431" y="0"/>
                        </a:cubicBezTo>
                        <a:cubicBezTo>
                          <a:pt x="2091541" y="-52850"/>
                          <a:pt x="2318537" y="49329"/>
                          <a:pt x="2452809" y="0"/>
                        </a:cubicBezTo>
                        <a:cubicBezTo>
                          <a:pt x="2587081" y="-49329"/>
                          <a:pt x="2915392" y="63984"/>
                          <a:pt x="3091776" y="0"/>
                        </a:cubicBezTo>
                        <a:cubicBezTo>
                          <a:pt x="3123081" y="162562"/>
                          <a:pt x="3073463" y="375592"/>
                          <a:pt x="3091776" y="525886"/>
                        </a:cubicBezTo>
                        <a:cubicBezTo>
                          <a:pt x="2883693" y="531029"/>
                          <a:pt x="2706600" y="466009"/>
                          <a:pt x="2576480" y="525886"/>
                        </a:cubicBezTo>
                        <a:cubicBezTo>
                          <a:pt x="2446360" y="585763"/>
                          <a:pt x="2303221" y="513487"/>
                          <a:pt x="2153937" y="525886"/>
                        </a:cubicBezTo>
                        <a:cubicBezTo>
                          <a:pt x="2004653" y="538285"/>
                          <a:pt x="1789486" y="485022"/>
                          <a:pt x="1638641" y="525886"/>
                        </a:cubicBezTo>
                        <a:cubicBezTo>
                          <a:pt x="1487796" y="566750"/>
                          <a:pt x="1334450" y="519784"/>
                          <a:pt x="1123345" y="525886"/>
                        </a:cubicBezTo>
                        <a:cubicBezTo>
                          <a:pt x="912240" y="531988"/>
                          <a:pt x="867646" y="480634"/>
                          <a:pt x="638967" y="525886"/>
                        </a:cubicBezTo>
                        <a:cubicBezTo>
                          <a:pt x="410288" y="571138"/>
                          <a:pt x="196109" y="460398"/>
                          <a:pt x="0" y="525886"/>
                        </a:cubicBezTo>
                        <a:cubicBezTo>
                          <a:pt x="-36747" y="380854"/>
                          <a:pt x="47815" y="17362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0" tIns="0" rIns="0" bIns="0" anchor="b" anchorCtr="0">
            <a:spAutoFit/>
          </a:bodyPr>
          <a:lstStyle>
            <a:lvl1pPr marL="0" indent="0" algn="l" defTabSz="914400">
              <a:lnSpc>
                <a:spcPct val="100000"/>
              </a:lnSpc>
              <a:spcBef>
                <a:spcPts val="0"/>
              </a:spcBef>
              <a:buNone/>
              <a:defRPr lang="ru-RU" sz="1200" b="0" baseline="0">
                <a:solidFill>
                  <a:schemeClr val="bg2"/>
                </a:solidFill>
                <a:latin typeface="+mn-lt"/>
                <a:ea typeface="+mj-ea"/>
                <a:cs typeface="Segoe UI"/>
              </a:defRPr>
            </a:lvl1pPr>
            <a:lvl2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2pPr>
            <a:lvl3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3pPr>
            <a:lvl4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4pPr>
            <a:lvl5pPr marL="0" indent="0" algn="l" defTabSz="914400">
              <a:lnSpc>
                <a:spcPct val="90000"/>
              </a:lnSpc>
              <a:spcBef>
                <a:spcPts val="0"/>
              </a:spcBef>
              <a:buNone/>
              <a:defRPr lang="ru-RU" sz="2000" b="0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5pPr>
          </a:lstStyle>
          <a:p>
            <a:pPr lvl="0">
              <a:defRPr/>
            </a:pPr>
            <a:r>
              <a:rPr lang="ru-RU" dirty="0"/>
              <a:t>Подпись или дата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96458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">
    <p:bg>
      <p:bgPr>
        <a:gradFill>
          <a:gsLst>
            <a:gs pos="0">
              <a:schemeClr val="tx1"/>
            </a:gs>
            <a:gs pos="100000">
              <a:schemeClr val="tx2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E4C5792-9AF2-4A72-AA37-BC70FB9592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10796" y="0"/>
            <a:ext cx="8370409" cy="6857999"/>
          </a:xfrm>
          <a:prstGeom prst="rect">
            <a:avLst/>
          </a:prstGeom>
        </p:spPr>
      </p:pic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A5B8BEE4-06CD-4E6C-AE7F-6FF36A328F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839789" y="2828925"/>
            <a:ext cx="8971868" cy="120015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ru-RU" dirty="0"/>
              <a:t>Новый раздел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34714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7523ADF3-92AF-48B0-9D85-EC13AAB304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2951950" y="0"/>
            <a:ext cx="9240050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66D351E-FFE9-4D6F-83F9-8E888D19A34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17" y="1160463"/>
            <a:ext cx="2355690" cy="66357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DEA9EDD-86D2-4C30-B979-B631D8B56F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7033" y="2371069"/>
            <a:ext cx="2115862" cy="2115862"/>
          </a:xfrm>
          <a:prstGeom prst="rect">
            <a:avLst/>
          </a:prstGeom>
        </p:spPr>
      </p:pic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4D995C0B-8125-4D30-A3FE-94510643F7F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39788" y="3162401"/>
            <a:ext cx="7272337" cy="6093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540000" indent="-54000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6000" indent="-576000">
              <a:defRPr/>
            </a:pPr>
            <a:r>
              <a:rPr lang="ru-RU" sz="4400" dirty="0"/>
              <a:t>— Спасибо за внимание!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09CE6B1-9F98-4ECF-89AE-957C812D11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788" y="5384800"/>
            <a:ext cx="5040312" cy="10287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7222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етлый с паттерном 2">
    <p:bg>
      <p:bgPr>
        <a:gradFill>
          <a:gsLst>
            <a:gs pos="100000">
              <a:schemeClr val="accent3">
                <a:alpha val="50000"/>
              </a:schemeClr>
            </a:gs>
            <a:gs pos="0">
              <a:schemeClr val="accent2">
                <a:alpha val="50000"/>
              </a:schemeClr>
            </a:gs>
          </a:gsLst>
          <a:lin ang="9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4CC15E2-95A5-4652-9FB2-79534720F87B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B5DFAF93-57D6-4F37-AC99-F4B633430D4E}"/>
              </a:ext>
            </a:extLst>
          </p:cNvPr>
          <p:cNvSpPr/>
          <p:nvPr/>
        </p:nvSpPr>
        <p:spPr>
          <a:xfrm>
            <a:off x="10058949" y="2592255"/>
            <a:ext cx="2137146" cy="2032895"/>
          </a:xfrm>
          <a:custGeom>
            <a:avLst/>
            <a:gdLst>
              <a:gd name="connsiteX0" fmla="*/ 2130358 w 2138235"/>
              <a:gd name="connsiteY0" fmla="*/ 13374 h 2033931"/>
              <a:gd name="connsiteX1" fmla="*/ 13374 w 2138235"/>
              <a:gd name="connsiteY1" fmla="*/ 2031400 h 2033931"/>
              <a:gd name="connsiteX2" fmla="*/ 520422 w 2138235"/>
              <a:gd name="connsiteY2" fmla="*/ 2031400 h 2033931"/>
              <a:gd name="connsiteX3" fmla="*/ 2130358 w 2138235"/>
              <a:gd name="connsiteY3" fmla="*/ 496694 h 2033931"/>
              <a:gd name="connsiteX4" fmla="*/ 2130358 w 2138235"/>
              <a:gd name="connsiteY4" fmla="*/ 13374 h 2033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8235" h="2033931">
                <a:moveTo>
                  <a:pt x="2130358" y="13374"/>
                </a:moveTo>
                <a:lnTo>
                  <a:pt x="13374" y="2031400"/>
                </a:lnTo>
                <a:lnTo>
                  <a:pt x="520422" y="2031400"/>
                </a:lnTo>
                <a:lnTo>
                  <a:pt x="2130358" y="496694"/>
                </a:lnTo>
                <a:lnTo>
                  <a:pt x="2130358" y="1337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C5E185CB-D7DE-4F10-B182-E5171D4DC1CE}"/>
              </a:ext>
            </a:extLst>
          </p:cNvPr>
          <p:cNvSpPr/>
          <p:nvPr/>
        </p:nvSpPr>
        <p:spPr>
          <a:xfrm>
            <a:off x="1440781" y="-13367"/>
            <a:ext cx="8639800" cy="6867534"/>
          </a:xfrm>
          <a:custGeom>
            <a:avLst/>
            <a:gdLst>
              <a:gd name="connsiteX0" fmla="*/ 13374 w 8644208"/>
              <a:gd name="connsiteY0" fmla="*/ 6870201 h 6871038"/>
              <a:gd name="connsiteX1" fmla="*/ 3584880 w 8644208"/>
              <a:gd name="connsiteY1" fmla="*/ 6870201 h 6871038"/>
              <a:gd name="connsiteX2" fmla="*/ 8635940 w 8644208"/>
              <a:gd name="connsiteY2" fmla="*/ 2065298 h 6871038"/>
              <a:gd name="connsiteX3" fmla="*/ 6493532 w 8644208"/>
              <a:gd name="connsiteY3" fmla="*/ 13374 h 6871038"/>
              <a:gd name="connsiteX4" fmla="*/ 2934543 w 8644208"/>
              <a:gd name="connsiteY4" fmla="*/ 13374 h 6871038"/>
              <a:gd name="connsiteX5" fmla="*/ 5070693 w 8644208"/>
              <a:gd name="connsiteY5" fmla="*/ 2059301 h 6871038"/>
              <a:gd name="connsiteX6" fmla="*/ 13374 w 8644208"/>
              <a:gd name="connsiteY6" fmla="*/ 6870201 h 6871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4208" h="6871038">
                <a:moveTo>
                  <a:pt x="13374" y="6870201"/>
                </a:moveTo>
                <a:lnTo>
                  <a:pt x="3584880" y="6870201"/>
                </a:lnTo>
                <a:lnTo>
                  <a:pt x="8635940" y="2065298"/>
                </a:lnTo>
                <a:lnTo>
                  <a:pt x="6493532" y="13374"/>
                </a:lnTo>
                <a:lnTo>
                  <a:pt x="2934543" y="13374"/>
                </a:lnTo>
                <a:lnTo>
                  <a:pt x="5070693" y="2059301"/>
                </a:lnTo>
                <a:lnTo>
                  <a:pt x="13374" y="6870201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8926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A3324F-78C1-48B1-ACA4-B1D214BFBBED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9749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ёмный с паттерном">
    <p:bg>
      <p:bgPr>
        <a:gradFill>
          <a:gsLst>
            <a:gs pos="0">
              <a:schemeClr val="tx1"/>
            </a:gs>
            <a:gs pos="100000">
              <a:schemeClr val="tx2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Рисунок 4">
            <a:extLst>
              <a:ext uri="{FF2B5EF4-FFF2-40B4-BE49-F238E27FC236}">
                <a16:creationId xmlns:a16="http://schemas.microsoft.com/office/drawing/2014/main" id="{BA806DE9-E17C-4DD6-8F18-863DF7C54A64}"/>
              </a:ext>
            </a:extLst>
          </p:cNvPr>
          <p:cNvGrpSpPr/>
          <p:nvPr/>
        </p:nvGrpSpPr>
        <p:grpSpPr>
          <a:xfrm>
            <a:off x="4069311" y="0"/>
            <a:ext cx="8122689" cy="6858000"/>
            <a:chOff x="4069311" y="0"/>
            <a:chExt cx="8122689" cy="6858000"/>
          </a:xfrm>
          <a:solidFill>
            <a:schemeClr val="tx2">
              <a:alpha val="50000"/>
            </a:schemeClr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EFF22DF9-4888-4523-874F-EC26F17E24D0}"/>
                </a:ext>
              </a:extLst>
            </p:cNvPr>
            <p:cNvSpPr/>
            <p:nvPr/>
          </p:nvSpPr>
          <p:spPr>
            <a:xfrm>
              <a:off x="7892377" y="5059070"/>
              <a:ext cx="2268616" cy="1799247"/>
            </a:xfrm>
            <a:custGeom>
              <a:avLst/>
              <a:gdLst>
                <a:gd name="connsiteX0" fmla="*/ 331892 w 2268616"/>
                <a:gd name="connsiteY0" fmla="*/ 1797757 h 1799247"/>
                <a:gd name="connsiteX1" fmla="*/ 2259824 w 2268616"/>
                <a:gd name="connsiteY1" fmla="*/ 13373 h 1799247"/>
                <a:gd name="connsiteX2" fmla="*/ 1941305 w 2268616"/>
                <a:gd name="connsiteY2" fmla="*/ 13373 h 1799247"/>
                <a:gd name="connsiteX3" fmla="*/ 13373 w 2268616"/>
                <a:gd name="connsiteY3" fmla="*/ 1797757 h 1799247"/>
                <a:gd name="connsiteX4" fmla="*/ 331892 w 2268616"/>
                <a:gd name="connsiteY4" fmla="*/ 1797757 h 179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8616" h="1799247">
                  <a:moveTo>
                    <a:pt x="331892" y="1797757"/>
                  </a:moveTo>
                  <a:lnTo>
                    <a:pt x="2259824" y="13373"/>
                  </a:lnTo>
                  <a:lnTo>
                    <a:pt x="1941305" y="13373"/>
                  </a:lnTo>
                  <a:lnTo>
                    <a:pt x="13373" y="1797757"/>
                  </a:lnTo>
                  <a:lnTo>
                    <a:pt x="331892" y="1797757"/>
                  </a:lnTo>
                  <a:close/>
                </a:path>
              </a:pathLst>
            </a:custGeom>
            <a:grpFill/>
            <a:ln w="13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B27BDAE-DD69-48C1-84A6-19BDC881208D}"/>
                </a:ext>
              </a:extLst>
            </p:cNvPr>
            <p:cNvSpPr/>
            <p:nvPr/>
          </p:nvSpPr>
          <p:spPr>
            <a:xfrm>
              <a:off x="4055938" y="-13373"/>
              <a:ext cx="8148765" cy="5854072"/>
            </a:xfrm>
            <a:custGeom>
              <a:avLst/>
              <a:gdLst>
                <a:gd name="connsiteX0" fmla="*/ 8137627 w 8148765"/>
                <a:gd name="connsiteY0" fmla="*/ 13373 h 5854072"/>
                <a:gd name="connsiteX1" fmla="*/ 6311390 w 8148765"/>
                <a:gd name="connsiteY1" fmla="*/ 13373 h 5854072"/>
                <a:gd name="connsiteX2" fmla="*/ 13373 w 8148765"/>
                <a:gd name="connsiteY2" fmla="*/ 5842152 h 5854072"/>
                <a:gd name="connsiteX3" fmla="*/ 3634554 w 8148765"/>
                <a:gd name="connsiteY3" fmla="*/ 5842152 h 5854072"/>
                <a:gd name="connsiteX4" fmla="*/ 8137627 w 8148765"/>
                <a:gd name="connsiteY4" fmla="*/ 1674678 h 5854072"/>
                <a:gd name="connsiteX5" fmla="*/ 8137627 w 8148765"/>
                <a:gd name="connsiteY5" fmla="*/ 13373 h 5854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8765" h="5854072">
                  <a:moveTo>
                    <a:pt x="8137627" y="13373"/>
                  </a:moveTo>
                  <a:lnTo>
                    <a:pt x="6311390" y="13373"/>
                  </a:lnTo>
                  <a:lnTo>
                    <a:pt x="13373" y="5842152"/>
                  </a:lnTo>
                  <a:lnTo>
                    <a:pt x="3634554" y="5842152"/>
                  </a:lnTo>
                  <a:lnTo>
                    <a:pt x="8137627" y="1674678"/>
                  </a:lnTo>
                  <a:lnTo>
                    <a:pt x="8137627" y="13373"/>
                  </a:lnTo>
                  <a:close/>
                </a:path>
              </a:pathLst>
            </a:custGeom>
            <a:grpFill/>
            <a:ln w="13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2C91AEB-B813-4672-9ABC-0C01FF3F95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250B568-60F4-4EA4-971D-877EC6800A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3799" y="475360"/>
            <a:ext cx="364427" cy="364427"/>
          </a:xfrm>
          <a:prstGeom prst="rect">
            <a:avLst/>
          </a:prstGeom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11487C2-DE74-407C-9C55-4FD8F5C171F0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tx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>
            <a:extLst>
              <a:ext uri="{FF2B5EF4-FFF2-40B4-BE49-F238E27FC236}">
                <a16:creationId xmlns:a16="http://schemas.microsoft.com/office/drawing/2014/main" id="{A8E9B8B1-6009-474E-B3B3-63DD784D8E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0"/>
            <a:ext cx="5364163" cy="6857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11B7C10-336A-4A37-9B64-B30345C4B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87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бч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3A50168-C3B1-4FE0-A0AC-EDE818A97A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3013" y="4905375"/>
            <a:ext cx="4752975" cy="195262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617FC79-82D4-4656-9C01-B8D7BCD7FF9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2CA2E7C-8C6F-4468-8E35-30624A0B8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8835"/>
          <a:stretch/>
        </p:blipFill>
        <p:spPr>
          <a:xfrm flipH="1">
            <a:off x="7500144" y="0"/>
            <a:ext cx="4691856" cy="6861974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B1662D0-64EE-4449-817C-A7CFF7E2DB2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53799" y="475360"/>
            <a:ext cx="364427" cy="364427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0C62EC-EC98-4C20-96A9-32B55B4D6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877094"/>
            <a:ext cx="5148263" cy="5909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3CA1483B-DF14-4A95-BD51-709861D89559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31B7EA77-3C81-489D-A246-9CB5B23808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0"/>
            <a:ext cx="5383213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10E4C326-CE32-42A9-A53F-638D90489A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4314" y="-3974"/>
            <a:ext cx="5148262" cy="68659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439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чб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16E6B52-B7BA-478B-B448-0D547B5DC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871" r="7658"/>
          <a:stretch/>
        </p:blipFill>
        <p:spPr>
          <a:xfrm rot="10800000">
            <a:off x="6096000" y="-3974"/>
            <a:ext cx="6096000" cy="686197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617FC79-82D4-4656-9C01-B8D7BCD7FF9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BFF02B9-22FC-4F59-802C-692A52BE7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1478"/>
          <a:stretch/>
        </p:blipFill>
        <p:spPr>
          <a:xfrm>
            <a:off x="0" y="-3974"/>
            <a:ext cx="5256212" cy="6861974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D76FB5-B02F-414A-82D8-24A289604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04794"/>
            <a:ext cx="5148263" cy="5632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CAA924C9-6BEE-4251-AC9F-C0F5B0254311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14D88013-54E2-45D3-8177-CDE5CB9EDF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0"/>
            <a:ext cx="5148263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592C67C1-7D40-4EBA-BC8C-91DE5657D2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4313" y="-3974"/>
            <a:ext cx="5148262" cy="68659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6728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чб, кейсы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6A90CC8-E11E-4C99-93A3-EC26CB338CA5}"/>
              </a:ext>
            </a:extLst>
          </p:cNvPr>
          <p:cNvSpPr/>
          <p:nvPr userDrawn="1"/>
        </p:nvSpPr>
        <p:spPr>
          <a:xfrm>
            <a:off x="0" y="0"/>
            <a:ext cx="4061933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FE75F2B-AFC8-4909-86F7-C3F060F844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834" r="8213"/>
          <a:stretch/>
        </p:blipFill>
        <p:spPr>
          <a:xfrm>
            <a:off x="0" y="0"/>
            <a:ext cx="4061935" cy="686197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A2923BA0-FC3A-440C-AAA7-E5CA0859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1478"/>
          <a:stretch/>
        </p:blipFill>
        <p:spPr>
          <a:xfrm rot="10800000">
            <a:off x="6942137" y="-3974"/>
            <a:ext cx="5256212" cy="6861974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65DF8A9-EA80-454B-81B8-CFC3910E1E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53799" y="475360"/>
            <a:ext cx="364427" cy="364427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9CA87FFB-1C92-4858-9819-7460FBD38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114" y="877094"/>
            <a:ext cx="6351586" cy="5909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C28430-439B-48E4-8E54-03486E42F769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583114" y="6353841"/>
            <a:ext cx="7129462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6663E224-15AA-44D3-86A0-7CB371EB79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83113" y="-3975"/>
            <a:ext cx="3241675" cy="6865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60CE353B-F429-4092-BB53-DB41D21760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1513" y="-3975"/>
            <a:ext cx="3421062" cy="6865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07BB0849-CE3F-456A-98B1-D746D10A8D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0"/>
            <a:ext cx="316865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7630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427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бч"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617FC79-82D4-4656-9C01-B8D7BCD7FF91}"/>
              </a:ext>
            </a:extLst>
          </p:cNvPr>
          <p:cNvSpPr/>
          <p:nvPr userDrawn="1"/>
        </p:nvSpPr>
        <p:spPr>
          <a:xfrm>
            <a:off x="8130065" y="0"/>
            <a:ext cx="4061933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692095DF-D286-4E86-A6A4-D50EE50DD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834" r="8213"/>
          <a:stretch/>
        </p:blipFill>
        <p:spPr>
          <a:xfrm flipV="1">
            <a:off x="8130065" y="0"/>
            <a:ext cx="4061935" cy="686197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E04D7A2-AE8A-4399-BC90-75C6A78D83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8835"/>
          <a:stretch/>
        </p:blipFill>
        <p:spPr>
          <a:xfrm flipH="1">
            <a:off x="3436241" y="0"/>
            <a:ext cx="4691856" cy="6861974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89731" y="6353841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4109291-1A6C-4A82-B7E0-A7A44F03CD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53799" y="475360"/>
            <a:ext cx="364427" cy="364427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B7F1E1-F499-4320-818A-C1CA9E6D1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877094"/>
            <a:ext cx="7092950" cy="5909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3C0C6A6E-8DF2-4706-8D4B-405B7F27FB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09000" y="2317"/>
            <a:ext cx="3203575" cy="6855684"/>
          </a:xfrm>
          <a:prstGeom prst="rect">
            <a:avLst/>
          </a:prstGeom>
        </p:spPr>
        <p:txBody>
          <a:bodyPr anchor="ctr" anchorCtr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400">
                <a:solidFill>
                  <a:schemeClr val="bg1"/>
                </a:solidFill>
              </a:defRPr>
            </a:lvl6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  <a:p>
            <a:pPr lvl="5"/>
            <a:r>
              <a:rPr lang="ru-RU" dirty="0"/>
              <a:t>Шестой уровень</a:t>
            </a:r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F903E390-756B-45DF-A921-8C4FBC5C8C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4" y="1521988"/>
            <a:ext cx="3168651" cy="4458913"/>
          </a:xfrm>
          <a:prstGeom prst="rect">
            <a:avLst/>
          </a:prstGeom>
        </p:spPr>
        <p:txBody>
          <a:bodyPr anchor="t" anchorCtr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</a:t>
            </a:r>
          </a:p>
          <a:p>
            <a:pPr lvl="2"/>
            <a:r>
              <a:rPr lang="ru-RU" dirty="0"/>
              <a:t>Третий</a:t>
            </a:r>
          </a:p>
          <a:p>
            <a:pPr lvl="3"/>
            <a:r>
              <a:rPr lang="ru-RU" dirty="0"/>
              <a:t>Четвертый</a:t>
            </a:r>
          </a:p>
          <a:p>
            <a:pPr lvl="4"/>
            <a:r>
              <a:rPr lang="ru-RU" dirty="0"/>
              <a:t>Пятый</a:t>
            </a:r>
          </a:p>
          <a:p>
            <a:pPr lvl="5"/>
            <a:r>
              <a:rPr lang="ru-RU" dirty="0"/>
              <a:t>Шестой</a:t>
            </a:r>
          </a:p>
        </p:txBody>
      </p:sp>
      <p:sp>
        <p:nvSpPr>
          <p:cNvPr id="12" name="Текст 8">
            <a:extLst>
              <a:ext uri="{FF2B5EF4-FFF2-40B4-BE49-F238E27FC236}">
                <a16:creationId xmlns:a16="http://schemas.microsoft.com/office/drawing/2014/main" id="{F557C904-8651-447E-BA11-1A9C2C550A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7214" y="1521988"/>
            <a:ext cx="3205162" cy="4458913"/>
          </a:xfrm>
          <a:prstGeom prst="rect">
            <a:avLst/>
          </a:prstGeom>
        </p:spPr>
        <p:txBody>
          <a:bodyPr anchor="t" anchorCtr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</a:t>
            </a:r>
          </a:p>
          <a:p>
            <a:pPr lvl="2"/>
            <a:r>
              <a:rPr lang="ru-RU" dirty="0"/>
              <a:t>Третий</a:t>
            </a:r>
          </a:p>
          <a:p>
            <a:pPr lvl="3"/>
            <a:r>
              <a:rPr lang="ru-RU" dirty="0"/>
              <a:t>Четвертый</a:t>
            </a:r>
          </a:p>
          <a:p>
            <a:pPr lvl="4"/>
            <a:r>
              <a:rPr lang="ru-RU" dirty="0"/>
              <a:t>Пятый</a:t>
            </a:r>
          </a:p>
          <a:p>
            <a:pPr lvl="5"/>
            <a:r>
              <a:rPr lang="ru-RU" dirty="0"/>
              <a:t>Шестой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60C3498-993F-4DBD-8F64-6D471B27053E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5" y="6353841"/>
            <a:ext cx="7345362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462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ЦИФРЫ">
    <p:bg>
      <p:bgPr>
        <a:gradFill>
          <a:gsLst>
            <a:gs pos="100000">
              <a:schemeClr val="accent3">
                <a:alpha val="50000"/>
              </a:schemeClr>
            </a:gs>
            <a:gs pos="0">
              <a:schemeClr val="accent2">
                <a:alpha val="50000"/>
              </a:schemeClr>
            </a:gs>
          </a:gsLst>
          <a:lin ang="9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2BB2E28-AAB6-432C-A2D0-60F06278FA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6675E73-F4B0-419C-A0D7-BA26365C4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877094"/>
            <a:ext cx="9220200" cy="5909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5C58855F-68D9-4A9C-91C9-6557B4795BE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479424" y="6353841"/>
            <a:ext cx="11233151" cy="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alpha val="50000"/>
                  </a:schemeClr>
                </a:gs>
                <a:gs pos="20000">
                  <a:schemeClr val="accent5">
                    <a:alpha val="2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34480EC-FA8D-4505-BA26-8719C9AC54BC}"/>
              </a:ext>
            </a:extLst>
          </p:cNvPr>
          <p:cNvSpPr/>
          <p:nvPr/>
        </p:nvSpPr>
        <p:spPr>
          <a:xfrm>
            <a:off x="4205530" y="1730045"/>
            <a:ext cx="1889006" cy="1800000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1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F5C5B25-849A-4FC1-AE3F-8492A7637C68}"/>
              </a:ext>
            </a:extLst>
          </p:cNvPr>
          <p:cNvSpPr/>
          <p:nvPr/>
        </p:nvSpPr>
        <p:spPr>
          <a:xfrm>
            <a:off x="9825235" y="1789278"/>
            <a:ext cx="1887340" cy="1800000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2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C8F70DF-F05C-4312-92F8-44522FE494FC}"/>
              </a:ext>
            </a:extLst>
          </p:cNvPr>
          <p:cNvSpPr/>
          <p:nvPr/>
        </p:nvSpPr>
        <p:spPr>
          <a:xfrm>
            <a:off x="4205530" y="3893102"/>
            <a:ext cx="1889006" cy="1800000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3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DE67CD8-BA3E-4E0D-84F9-79BECBB8C593}"/>
              </a:ext>
            </a:extLst>
          </p:cNvPr>
          <p:cNvSpPr/>
          <p:nvPr/>
        </p:nvSpPr>
        <p:spPr>
          <a:xfrm>
            <a:off x="9792161" y="3893102"/>
            <a:ext cx="1887341" cy="1800000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7000" b="1" dirty="0">
                <a:solidFill>
                  <a:schemeClr val="bg1">
                    <a:alpha val="50000"/>
                  </a:schemeClr>
                </a:solidFill>
              </a:rPr>
              <a:t>4</a:t>
            </a:r>
            <a:endParaRPr lang="en-US" sz="17000" b="1" dirty="0" err="1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88F99062-755F-44BB-B23C-0EC3C9E906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81658"/>
            <a:ext cx="5364163" cy="174971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</p:txBody>
      </p:sp>
      <p:sp>
        <p:nvSpPr>
          <p:cNvPr id="22" name="Текст 20">
            <a:extLst>
              <a:ext uri="{FF2B5EF4-FFF2-40B4-BE49-F238E27FC236}">
                <a16:creationId xmlns:a16="http://schemas.microsoft.com/office/drawing/2014/main" id="{AE1BC57A-BBAB-460E-9569-8E3A86E6B2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34125" y="1781658"/>
            <a:ext cx="5364163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20">
            <a:extLst>
              <a:ext uri="{FF2B5EF4-FFF2-40B4-BE49-F238E27FC236}">
                <a16:creationId xmlns:a16="http://schemas.microsoft.com/office/drawing/2014/main" id="{9202EB65-72CC-4FD2-9750-501AE0AB55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3870936"/>
            <a:ext cx="5364163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20">
            <a:extLst>
              <a:ext uri="{FF2B5EF4-FFF2-40B4-BE49-F238E27FC236}">
                <a16:creationId xmlns:a16="http://schemas.microsoft.com/office/drawing/2014/main" id="{442ABACE-6C74-495C-8DEF-64D569C91D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4125" y="3870936"/>
            <a:ext cx="5364163" cy="153324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ysClr val="windowText" lastClr="000000"/>
                </a:solidFill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9061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5.svg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3">
                <a:alpha val="50000"/>
              </a:schemeClr>
            </a:gs>
            <a:gs pos="0">
              <a:schemeClr val="accent2">
                <a:alpha val="50000"/>
              </a:schemeClr>
            </a:gs>
          </a:gsLst>
          <a:lin ang="9000000" scaled="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3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9067895" y="63538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3F531587-203F-490F-9F50-BF679F07B0D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353799" y="475360"/>
            <a:ext cx="364427" cy="364427"/>
          </a:xfrm>
          <a:prstGeom prst="rect">
            <a:avLst/>
          </a:prstGeom>
        </p:spPr>
      </p:pic>
      <p:sp>
        <p:nvSpPr>
          <p:cNvPr id="8" name="Текст 2">
            <a:extLst>
              <a:ext uri="{FF2B5EF4-FFF2-40B4-BE49-F238E27FC236}">
                <a16:creationId xmlns:a16="http://schemas.microsoft.com/office/drawing/2014/main" id="{F5C7E281-F049-485D-A036-19F36103216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79424" y="0"/>
            <a:ext cx="3384551" cy="6857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</a:p>
          <a:p>
            <a:pPr lvl="1"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</a:p>
          <a:p>
            <a:pPr lvl="2"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3"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</a:p>
          <a:p>
            <a:pPr lvl="4"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5"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79424" y="904794"/>
            <a:ext cx="9769475" cy="563231"/>
          </a:xfrm>
          <a:prstGeom prst="rect">
            <a:avLst/>
          </a:prstGeom>
        </p:spPr>
        <p:txBody>
          <a:bodyPr vert="horz" wrap="square" lIns="0" tIns="45720" rIns="91440" bIns="45720" rtlCol="0" anchor="b" anchorCtr="0">
            <a:spAutoFit/>
          </a:bodyPr>
          <a:lstStyle/>
          <a:p>
            <a:pPr>
              <a:defRPr/>
            </a:pPr>
            <a:r>
              <a:rPr lang="ru-RU" dirty="0"/>
              <a:t>Образец заголовка</a:t>
            </a:r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43" r:id="rId2"/>
    <p:sldLayoutId id="2147483712" r:id="rId3"/>
    <p:sldLayoutId id="2147483713" r:id="rId4"/>
    <p:sldLayoutId id="2147483703" r:id="rId5"/>
    <p:sldLayoutId id="2147483706" r:id="rId6"/>
    <p:sldLayoutId id="2147483730" r:id="rId7"/>
    <p:sldLayoutId id="2147483704" r:id="rId8"/>
    <p:sldLayoutId id="2147483690" r:id="rId9"/>
    <p:sldLayoutId id="2147483745" r:id="rId10"/>
    <p:sldLayoutId id="2147483744" r:id="rId11"/>
  </p:sldLayoutIdLst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hf hdr="0" ftr="0" dt="0"/>
  <p:txStyles>
    <p:titleStyle>
      <a:lvl1pPr algn="l" defTabSz="914400">
        <a:lnSpc>
          <a:spcPct val="85000"/>
        </a:lnSpc>
        <a:spcBef>
          <a:spcPts val="0"/>
        </a:spcBef>
        <a:buNone/>
        <a:defRPr sz="3600" b="1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>
        <a:lnSpc>
          <a:spcPct val="110000"/>
        </a:lnSpc>
        <a:spcBef>
          <a:spcPts val="0"/>
        </a:spcBef>
        <a:spcAft>
          <a:spcPts val="600"/>
        </a:spcAft>
        <a:buFont typeface="Segoe UI" panose="020B0502040204020203" pitchFamily="34" charset="0"/>
        <a:buNone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>
        <a:lnSpc>
          <a:spcPct val="110000"/>
        </a:lnSpc>
        <a:spcBef>
          <a:spcPts val="0"/>
        </a:spcBef>
        <a:spcAft>
          <a:spcPts val="400"/>
        </a:spcAft>
        <a:buClr>
          <a:srgbClr val="C00000"/>
        </a:buClr>
        <a:buFontTx/>
        <a:buBlip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</a:buBlip>
        <a:tabLst>
          <a:tab pos="449263" algn="l"/>
        </a:tabLst>
        <a:defRPr lang="ru-RU" sz="1200" dirty="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08000" algn="l" defTabSz="914400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•"/>
        <a:defRPr lang="ru-RU" sz="1200" dirty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>
        <a:lnSpc>
          <a:spcPct val="11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tabLst/>
        <a:defRPr lang="ru-RU" sz="1400" b="1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>
        <a:lnSpc>
          <a:spcPct val="100000"/>
        </a:lnSpc>
        <a:spcBef>
          <a:spcPts val="900"/>
        </a:spcBef>
        <a:spcAft>
          <a:spcPts val="600"/>
        </a:spcAft>
        <a:buFont typeface="Arial" panose="020B0604020202020204" pitchFamily="34" charset="0"/>
        <a:buNone/>
        <a:defRPr lang="ru-RU" sz="1600" b="1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0000" marR="0" indent="-180000" algn="l" defTabSz="914400" eaLnBrk="1" fontAlgn="auto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SzTx/>
        <a:buFont typeface="+mj-lt"/>
        <a:buAutoNum type="arabicPeriod"/>
        <a:tabLst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22">
          <p15:clr>
            <a:srgbClr val="9FCC3B"/>
          </p15:clr>
        </p15:guide>
        <p15:guide id="2" pos="302">
          <p15:clr>
            <a:srgbClr val="F26B43"/>
          </p15:clr>
        </p15:guide>
        <p15:guide id="4" pos="2434">
          <p15:clr>
            <a:srgbClr val="A4A3A4"/>
          </p15:clr>
        </p15:guide>
        <p15:guide id="5" pos="4929">
          <p15:clr>
            <a:srgbClr val="A4A3A4"/>
          </p15:clr>
        </p15:guide>
        <p15:guide id="6" pos="7378">
          <p15:clr>
            <a:srgbClr val="F26B43"/>
          </p15:clr>
        </p15:guide>
        <p15:guide id="7" pos="3681">
          <p15:clr>
            <a:srgbClr val="A4A3A4"/>
          </p15:clr>
        </p15:guide>
        <p15:guide id="8" pos="3976">
          <p15:clr>
            <a:srgbClr val="A4A3A4"/>
          </p15:clr>
        </p15:guide>
        <p15:guide id="9" pos="2751">
          <p15:clr>
            <a:srgbClr val="A4A3A4"/>
          </p15:clr>
        </p15:guide>
        <p15:guide id="10" pos="5223">
          <p15:clr>
            <a:srgbClr val="A4A3A4"/>
          </p15:clr>
        </p15:guide>
        <p15:guide id="11" orient="horz" pos="958" userDrawn="1">
          <p15:clr>
            <a:srgbClr val="F26B43"/>
          </p15:clr>
        </p15:guide>
        <p15:guide id="14" orient="horz" pos="3770">
          <p15:clr>
            <a:srgbClr val="F26B43"/>
          </p15:clr>
        </p15:guide>
        <p15:guide id="17" pos="3840">
          <p15:clr>
            <a:srgbClr val="F26B43"/>
          </p15:clr>
        </p15:guide>
        <p15:guide id="18" pos="2298">
          <p15:clr>
            <a:srgbClr val="547EBF"/>
          </p15:clr>
        </p15:guide>
        <p15:guide id="19" pos="2887">
          <p15:clr>
            <a:srgbClr val="547EBF"/>
          </p15:clr>
        </p15:guide>
        <p15:guide id="20" pos="3545">
          <p15:clr>
            <a:srgbClr val="547EBF"/>
          </p15:clr>
        </p15:guide>
        <p15:guide id="21" pos="4135">
          <p15:clr>
            <a:srgbClr val="547EBF"/>
          </p15:clr>
        </p15:guide>
        <p15:guide id="22" pos="4770">
          <p15:clr>
            <a:srgbClr val="547EBF"/>
          </p15:clr>
        </p15:guide>
        <p15:guide id="23" pos="5360">
          <p15:clr>
            <a:srgbClr val="547EBF"/>
          </p15:clr>
        </p15:guide>
        <p15:guide id="24" orient="horz" pos="2160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chemeClr val="accent3">
                <a:alpha val="25000"/>
              </a:schemeClr>
            </a:gs>
            <a:gs pos="0">
              <a:schemeClr val="accent2">
                <a:alpha val="5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2936151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5" name="oleObj" r:id="rId18" imgW="0" imgH="0" progId="TCLayout.ActiveDocument.1">
                  <p:embed/>
                </p:oleObj>
              </mc:Choice>
              <mc:Fallback>
                <p:oleObj name="oleObj" r:id="rId18" imgW="0" imgH="0" progId="TCLayout.ActiveDocument.1">
                  <p:embed/>
                  <p:pic>
                    <p:nvPicPr>
                      <p:cNvPr id="7" name="Объект 6"/>
                      <p:cNvPicPr/>
                      <p:nvPr/>
                    </p:nvPicPr>
                    <p:blipFill>
                      <a:blip r:embed="rId19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9067895" y="63538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A89B92D-EFBE-40E3-AEE8-C63E39E4C06C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3F531587-203F-490F-9F50-BF679F07B0D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353799" y="475360"/>
            <a:ext cx="364427" cy="364427"/>
          </a:xfrm>
          <a:prstGeom prst="rect">
            <a:avLst/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973DF900-64C0-41B1-BE69-BBC37E988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0"/>
            <a:ext cx="5607053" cy="685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79424" y="904794"/>
            <a:ext cx="9820377" cy="563231"/>
          </a:xfrm>
          <a:prstGeom prst="rect">
            <a:avLst/>
          </a:prstGeom>
        </p:spPr>
        <p:txBody>
          <a:bodyPr vert="horz" wrap="square" lIns="0" tIns="45720" rIns="91440" bIns="45720" rtlCol="0" anchor="b" anchorCtr="0">
            <a:spAutoFit/>
          </a:bodyPr>
          <a:lstStyle/>
          <a:p>
            <a:pPr>
              <a:defRPr/>
            </a:pPr>
            <a:r>
              <a:rPr lang="ru-RU" dirty="0"/>
              <a:t>Образец заголовка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951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27" r:id="rId2"/>
    <p:sldLayoutId id="2147483734" r:id="rId3"/>
    <p:sldLayoutId id="2147483731" r:id="rId4"/>
    <p:sldLayoutId id="2147483737" r:id="rId5"/>
    <p:sldLayoutId id="2147483738" r:id="rId6"/>
    <p:sldLayoutId id="2147483732" r:id="rId7"/>
    <p:sldLayoutId id="2147483742" r:id="rId8"/>
    <p:sldLayoutId id="2147483740" r:id="rId9"/>
    <p:sldLayoutId id="2147483701" r:id="rId10"/>
    <p:sldLayoutId id="2147483724" r:id="rId11"/>
    <p:sldLayoutId id="2147483728" r:id="rId12"/>
    <p:sldLayoutId id="2147483725" r:id="rId13"/>
    <p:sldLayoutId id="2147483746" r:id="rId14"/>
    <p:sldLayoutId id="2147483747" r:id="rId15"/>
  </p:sldLayoutIdLst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  <p:hf hdr="0" ftr="0" dt="0"/>
  <p:txStyles>
    <p:titleStyle>
      <a:lvl1pPr algn="l" defTabSz="914400">
        <a:lnSpc>
          <a:spcPct val="85000"/>
        </a:lnSpc>
        <a:spcBef>
          <a:spcPts val="0"/>
        </a:spcBef>
        <a:buNone/>
        <a:defRPr sz="3600" b="1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>
        <a:lnSpc>
          <a:spcPct val="110000"/>
        </a:lnSpc>
        <a:spcBef>
          <a:spcPts val="0"/>
        </a:spcBef>
        <a:spcAft>
          <a:spcPts val="600"/>
        </a:spcAft>
        <a:buFont typeface="Segoe UI" panose="020B0502040204020203" pitchFamily="34" charset="0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>
        <a:lnSpc>
          <a:spcPct val="110000"/>
        </a:lnSpc>
        <a:spcBef>
          <a:spcPts val="0"/>
        </a:spcBef>
        <a:spcAft>
          <a:spcPts val="600"/>
        </a:spcAft>
        <a:buClr>
          <a:srgbClr val="C00000"/>
        </a:buClr>
        <a:buFontTx/>
        <a:buBlip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</a:buBlip>
        <a:tabLst>
          <a:tab pos="449263" algn="l"/>
        </a:tabLst>
        <a:defRPr lang="ru-RU" sz="1400" dirty="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44000" algn="l" defTabSz="914400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ru-RU" sz="1400" dirty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>
        <a:lnSpc>
          <a:spcPct val="110000"/>
        </a:lnSpc>
        <a:spcBef>
          <a:spcPts val="700"/>
        </a:spcBef>
        <a:spcAft>
          <a:spcPts val="400"/>
        </a:spcAft>
        <a:buFont typeface="Arial" panose="020B0604020202020204" pitchFamily="34" charset="0"/>
        <a:buNone/>
        <a:tabLst/>
        <a:defRPr lang="ru-RU" sz="1600" b="1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>
        <a:lnSpc>
          <a:spcPct val="110000"/>
        </a:lnSpc>
        <a:spcBef>
          <a:spcPts val="1000"/>
        </a:spcBef>
        <a:spcAft>
          <a:spcPts val="700"/>
        </a:spcAft>
        <a:buFont typeface="Arial" panose="020B0604020202020204" pitchFamily="34" charset="0"/>
        <a:buNone/>
        <a:defRPr lang="ru-RU" sz="2000" b="1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0000" marR="0" indent="-180000" algn="l" defTabSz="914400" eaLnBrk="1" fontAlgn="auto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SzTx/>
        <a:buFont typeface="+mj-lt"/>
        <a:buAutoNum type="arabicPeriod"/>
        <a:tabLst/>
        <a:defRPr lang="ru-RU" sz="14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02">
          <p15:clr>
            <a:srgbClr val="F26B43"/>
          </p15:clr>
        </p15:guide>
        <p15:guide id="4" pos="2434">
          <p15:clr>
            <a:srgbClr val="A4A3A4"/>
          </p15:clr>
        </p15:guide>
        <p15:guide id="5" pos="4929">
          <p15:clr>
            <a:srgbClr val="A4A3A4"/>
          </p15:clr>
        </p15:guide>
        <p15:guide id="6" pos="7378">
          <p15:clr>
            <a:srgbClr val="F26B43"/>
          </p15:clr>
        </p15:guide>
        <p15:guide id="7" pos="3681">
          <p15:clr>
            <a:srgbClr val="A4A3A4"/>
          </p15:clr>
        </p15:guide>
        <p15:guide id="8" pos="3976">
          <p15:clr>
            <a:srgbClr val="A4A3A4"/>
          </p15:clr>
        </p15:guide>
        <p15:guide id="9" pos="2751">
          <p15:clr>
            <a:srgbClr val="A4A3A4"/>
          </p15:clr>
        </p15:guide>
        <p15:guide id="10" pos="5223">
          <p15:clr>
            <a:srgbClr val="A4A3A4"/>
          </p15:clr>
        </p15:guide>
        <p15:guide id="14" orient="horz" pos="3770">
          <p15:clr>
            <a:srgbClr val="F26B43"/>
          </p15:clr>
        </p15:guide>
        <p15:guide id="17" pos="3840">
          <p15:clr>
            <a:srgbClr val="F26B43"/>
          </p15:clr>
        </p15:guide>
        <p15:guide id="18" pos="2298">
          <p15:clr>
            <a:srgbClr val="547EBF"/>
          </p15:clr>
        </p15:guide>
        <p15:guide id="19" pos="2887">
          <p15:clr>
            <a:srgbClr val="547EBF"/>
          </p15:clr>
        </p15:guide>
        <p15:guide id="20" pos="3545">
          <p15:clr>
            <a:srgbClr val="547EBF"/>
          </p15:clr>
        </p15:guide>
        <p15:guide id="21" pos="4135">
          <p15:clr>
            <a:srgbClr val="547EBF"/>
          </p15:clr>
        </p15:guide>
        <p15:guide id="22" pos="4770">
          <p15:clr>
            <a:srgbClr val="547EBF"/>
          </p15:clr>
        </p15:guide>
        <p15:guide id="23" pos="5360">
          <p15:clr>
            <a:srgbClr val="547EBF"/>
          </p15:clr>
        </p15:guide>
        <p15:guide id="24" orient="horz" pos="2160" userDrawn="1">
          <p15:clr>
            <a:srgbClr val="FDE53C"/>
          </p15:clr>
        </p15:guide>
        <p15:guide id="25" orient="horz" pos="95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tx1"/>
            </a:gs>
            <a:gs pos="100000">
              <a:schemeClr val="tx2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8486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6" r:id="rId2"/>
    <p:sldLayoutId id="214748369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704" userDrawn="1">
          <p15:clr>
            <a:srgbClr val="F26B43"/>
          </p15:clr>
        </p15:guide>
        <p15:guide id="3" pos="3976" userDrawn="1">
          <p15:clr>
            <a:srgbClr val="F26B43"/>
          </p15:clr>
        </p15:guide>
        <p15:guide id="4" pos="2570" userDrawn="1">
          <p15:clr>
            <a:srgbClr val="F26B43"/>
          </p15:clr>
        </p15:guide>
        <p15:guide id="5" pos="2819" userDrawn="1">
          <p15:clr>
            <a:srgbClr val="F26B43"/>
          </p15:clr>
        </p15:guide>
        <p15:guide id="6" pos="4861" userDrawn="1">
          <p15:clr>
            <a:srgbClr val="F26B43"/>
          </p15:clr>
        </p15:guide>
        <p15:guide id="7" pos="5110" userDrawn="1">
          <p15:clr>
            <a:srgbClr val="F26B43"/>
          </p15:clr>
        </p15:guide>
        <p15:guide id="8" pos="7151" userDrawn="1">
          <p15:clr>
            <a:srgbClr val="F26B43"/>
          </p15:clr>
        </p15:guide>
        <p15:guide id="9" pos="5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6" Type="http://schemas.openxmlformats.org/officeDocument/2006/relationships/comments" Target="../comments/commen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7.png"/><Relationship Id="rId5" Type="http://schemas.openxmlformats.org/officeDocument/2006/relationships/image" Target="../media/image32.pn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5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2.png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4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7.png"/><Relationship Id="rId4" Type="http://schemas.openxmlformats.org/officeDocument/2006/relationships/image" Target="../media/image9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comments" Target="../comments/comment1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0849C3BD-AE78-4586-A17A-D97952624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944149"/>
            <a:ext cx="6877051" cy="1109282"/>
          </a:xfrm>
        </p:spPr>
        <p:txBody>
          <a:bodyPr/>
          <a:lstStyle/>
          <a:p>
            <a:r>
              <a:rPr lang="ru-RU" spc="-1" dirty="0">
                <a:solidFill>
                  <a:srgbClr val="FFFFFF"/>
                </a:solidFill>
              </a:rPr>
              <a:t>Поезд LLM набирает ход, пора запрыгивать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6797E1D-1111-451E-993F-5123215451B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3" r="13345" b="8045"/>
          <a:stretch/>
        </p:blipFill>
        <p:spPr>
          <a:xfrm>
            <a:off x="6797994" y="788144"/>
            <a:ext cx="4575494" cy="5281712"/>
          </a:xfrm>
        </p:spPr>
      </p:pic>
      <p:sp>
        <p:nvSpPr>
          <p:cNvPr id="4" name="PlaceHolder 3">
            <a:extLst>
              <a:ext uri="{FF2B5EF4-FFF2-40B4-BE49-F238E27FC236}">
                <a16:creationId xmlns:a16="http://schemas.microsoft.com/office/drawing/2014/main" id="{A3DE4418-44DC-44C4-A5C0-8A4DAE7787F8}"/>
              </a:ext>
            </a:extLst>
          </p:cNvPr>
          <p:cNvSpPr txBox="1">
            <a:spLocks/>
          </p:cNvSpPr>
          <p:nvPr/>
        </p:nvSpPr>
        <p:spPr bwMode="auto">
          <a:xfrm>
            <a:off x="844200" y="5885280"/>
            <a:ext cx="5035320" cy="183960"/>
          </a:xfrm>
          <a:prstGeom prst="rect">
            <a:avLst/>
          </a:prstGeom>
          <a:noFill/>
          <a:ln w="15840">
            <a:noFill/>
          </a:ln>
        </p:spPr>
        <p:txBody>
          <a:bodyPr wrap="square"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kern="120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1200" b="0" spc="-1" dirty="0">
                <a:solidFill>
                  <a:srgbClr val="FFFFFF"/>
                </a:solidFill>
              </a:rPr>
              <a:t>Алексей Корякин</a:t>
            </a:r>
            <a:endParaRPr lang="ru-RU" sz="1200" b="0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32462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PlaceHolder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192027"/>
                </a:solidFill>
                <a:latin typeface="Roboto"/>
              </a:rPr>
              <a:t>Подготовка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276" name="Рисунок 275"/>
          <p:cNvPicPr/>
          <p:nvPr/>
        </p:nvPicPr>
        <p:blipFill>
          <a:blip r:embed="rId2"/>
          <a:stretch/>
        </p:blipFill>
        <p:spPr>
          <a:xfrm>
            <a:off x="822960" y="157416"/>
            <a:ext cx="4961507" cy="6543167"/>
          </a:xfrm>
          <a:prstGeom prst="rect">
            <a:avLst/>
          </a:prstGeom>
          <a:blipFill rotWithShape="0">
            <a:blip r:embed="rId3"/>
            <a:srcRect/>
            <a:stretch/>
          </a:blipFill>
          <a:ln w="101600">
            <a:solidFill>
              <a:srgbClr val="C2D0DF"/>
            </a:solidFill>
          </a:ln>
        </p:spPr>
      </p:pic>
      <p:pic>
        <p:nvPicPr>
          <p:cNvPr id="277" name="Рисунок 276"/>
          <p:cNvPicPr/>
          <p:nvPr/>
        </p:nvPicPr>
        <p:blipFill>
          <a:blip r:embed="rId4"/>
          <a:stretch/>
        </p:blipFill>
        <p:spPr>
          <a:xfrm>
            <a:off x="6205728" y="157416"/>
            <a:ext cx="4657344" cy="6545407"/>
          </a:xfrm>
          <a:prstGeom prst="rect">
            <a:avLst/>
          </a:prstGeom>
          <a:blipFill rotWithShape="0">
            <a:blip r:embed="rId3"/>
            <a:srcRect/>
            <a:stretch/>
          </a:blipFill>
          <a:ln w="101600">
            <a:solidFill>
              <a:srgbClr val="C2D0DF"/>
            </a:solidFill>
          </a:ln>
        </p:spPr>
      </p:pic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9BC82BC7-B5DC-4721-B1F7-133C2B503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0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PlaceHolder 10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79" name="PlaceHol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ереходим к задаче </a:t>
            </a:r>
          </a:p>
        </p:txBody>
      </p:sp>
      <p:sp>
        <p:nvSpPr>
          <p:cNvPr id="280" name="Прямоугольник 3"/>
          <p:cNvSpPr/>
          <p:nvPr/>
        </p:nvSpPr>
        <p:spPr>
          <a:xfrm>
            <a:off x="496440" y="2370128"/>
            <a:ext cx="3148920" cy="563231"/>
          </a:xfrm>
          <a:prstGeom prst="rect">
            <a:avLst/>
          </a:prstGeom>
          <a:solidFill>
            <a:srgbClr val="21354D"/>
          </a:solidFill>
          <a:ln w="3168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44000" tIns="147600" rIns="144000" bIns="183600" anchor="ctr">
            <a:no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1200" b="0" strike="noStrike" spc="-1" dirty="0">
                <a:solidFill>
                  <a:srgbClr val="FFFFFF"/>
                </a:solidFill>
                <a:latin typeface="Roboto"/>
                <a:ea typeface="Roboto" panose="02000000000000000000" pitchFamily="2" charset="0"/>
              </a:rPr>
              <a:t>Проработка ТЗ</a:t>
            </a:r>
            <a:endParaRPr lang="ru-RU" sz="1200" b="0" strike="noStrike" spc="-1" dirty="0"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4E31EE-B485-4042-BFE8-637BA6EC147A}"/>
              </a:ext>
            </a:extLst>
          </p:cNvPr>
          <p:cNvSpPr txBox="1"/>
          <p:nvPr/>
        </p:nvSpPr>
        <p:spPr>
          <a:xfrm>
            <a:off x="381000" y="1786492"/>
            <a:ext cx="2199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pc="-1" dirty="0">
                <a:solidFill>
                  <a:srgbClr val="192027"/>
                </a:solidFill>
              </a:rPr>
              <a:t>Этапы разработки</a:t>
            </a:r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6893586-9000-41F5-AA5B-43FCC845A227}"/>
              </a:ext>
            </a:extLst>
          </p:cNvPr>
          <p:cNvGrpSpPr/>
          <p:nvPr/>
        </p:nvGrpSpPr>
        <p:grpSpPr>
          <a:xfrm>
            <a:off x="496440" y="2933359"/>
            <a:ext cx="3148920" cy="842827"/>
            <a:chOff x="496440" y="2933359"/>
            <a:chExt cx="3148920" cy="842827"/>
          </a:xfrm>
        </p:grpSpPr>
        <p:sp>
          <p:nvSpPr>
            <p:cNvPr id="281" name="Прямоугольник 38"/>
            <p:cNvSpPr/>
            <p:nvPr/>
          </p:nvSpPr>
          <p:spPr>
            <a:xfrm>
              <a:off x="496440" y="3212955"/>
              <a:ext cx="3148920" cy="563231"/>
            </a:xfrm>
            <a:prstGeom prst="rect">
              <a:avLst/>
            </a:prstGeom>
            <a:solidFill>
              <a:srgbClr val="21354D"/>
            </a:solidFill>
            <a:ln w="3168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144000" tIns="147600" rIns="144000" bIns="183600" anchor="ctr">
              <a:noAutofit/>
            </a:bodyPr>
            <a:lstStyle/>
            <a:p>
              <a:pPr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1200" b="0" strike="noStrike" spc="-1" dirty="0">
                  <a:solidFill>
                    <a:srgbClr val="FFFFFF"/>
                  </a:solidFill>
                  <a:latin typeface="Roboto"/>
                  <a:ea typeface="Roboto" panose="02000000000000000000" pitchFamily="2" charset="0"/>
                </a:rPr>
                <a:t>Архитектура</a:t>
              </a:r>
              <a:endParaRPr lang="ru-RU" sz="1200" b="0" strike="noStrike" spc="-1" dirty="0">
                <a:latin typeface="Arial"/>
              </a:endParaRPr>
            </a:p>
          </p:txBody>
        </p:sp>
        <p:cxnSp>
          <p:nvCxnSpPr>
            <p:cNvPr id="31" name="Прямая со стрелкой 30">
              <a:extLst>
                <a:ext uri="{FF2B5EF4-FFF2-40B4-BE49-F238E27FC236}">
                  <a16:creationId xmlns:a16="http://schemas.microsoft.com/office/drawing/2014/main" id="{EDEA5244-7F45-4BB5-838F-47B2E767EB04}"/>
                </a:ext>
              </a:extLst>
            </p:cNvPr>
            <p:cNvCxnSpPr>
              <a:cxnSpLocks/>
              <a:stCxn id="280" idx="2"/>
              <a:endCxn id="281" idx="0"/>
            </p:cNvCxnSpPr>
            <p:nvPr/>
          </p:nvCxnSpPr>
          <p:spPr>
            <a:xfrm>
              <a:off x="2070900" y="2933359"/>
              <a:ext cx="0" cy="279596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none" w="lg" len="lg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F814D39F-0A4D-4B89-A4DF-763FAAE78B16}"/>
              </a:ext>
            </a:extLst>
          </p:cNvPr>
          <p:cNvGrpSpPr/>
          <p:nvPr/>
        </p:nvGrpSpPr>
        <p:grpSpPr>
          <a:xfrm>
            <a:off x="496440" y="3776186"/>
            <a:ext cx="3148920" cy="842827"/>
            <a:chOff x="496440" y="3776186"/>
            <a:chExt cx="3148920" cy="842827"/>
          </a:xfrm>
        </p:grpSpPr>
        <p:sp>
          <p:nvSpPr>
            <p:cNvPr id="282" name="Прямоугольник 39"/>
            <p:cNvSpPr/>
            <p:nvPr/>
          </p:nvSpPr>
          <p:spPr>
            <a:xfrm>
              <a:off x="496440" y="4055782"/>
              <a:ext cx="3148920" cy="563231"/>
            </a:xfrm>
            <a:prstGeom prst="rect">
              <a:avLst/>
            </a:prstGeom>
            <a:solidFill>
              <a:srgbClr val="21354D"/>
            </a:solidFill>
            <a:ln w="3168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144000" tIns="147600" rIns="144000" bIns="183600" anchor="ctr">
              <a:noAutofit/>
            </a:bodyPr>
            <a:lstStyle/>
            <a:p>
              <a:pPr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1200" b="0" strike="noStrike" spc="-1" dirty="0">
                  <a:solidFill>
                    <a:srgbClr val="FFFFFF"/>
                  </a:solidFill>
                  <a:latin typeface="Roboto"/>
                  <a:ea typeface="Roboto" panose="02000000000000000000" pitchFamily="2" charset="0"/>
                </a:rPr>
                <a:t>Реализация</a:t>
              </a:r>
              <a:endParaRPr lang="ru-RU" sz="1200" b="0" strike="noStrike" spc="-1" dirty="0">
                <a:latin typeface="Arial"/>
              </a:endParaRPr>
            </a:p>
          </p:txBody>
        </p: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700B061D-5DD4-4B41-AB77-31970FE99160}"/>
                </a:ext>
              </a:extLst>
            </p:cNvPr>
            <p:cNvCxnSpPr>
              <a:cxnSpLocks/>
              <a:stCxn id="281" idx="2"/>
              <a:endCxn id="282" idx="0"/>
            </p:cNvCxnSpPr>
            <p:nvPr/>
          </p:nvCxnSpPr>
          <p:spPr>
            <a:xfrm>
              <a:off x="2070900" y="3776186"/>
              <a:ext cx="0" cy="279596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none" w="lg" len="lg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AD5FA18-5480-4A01-BCD2-856644361E86}"/>
              </a:ext>
            </a:extLst>
          </p:cNvPr>
          <p:cNvGrpSpPr/>
          <p:nvPr/>
        </p:nvGrpSpPr>
        <p:grpSpPr>
          <a:xfrm>
            <a:off x="496440" y="4619013"/>
            <a:ext cx="3148920" cy="842826"/>
            <a:chOff x="496440" y="4619013"/>
            <a:chExt cx="3148920" cy="842826"/>
          </a:xfrm>
        </p:grpSpPr>
        <p:sp>
          <p:nvSpPr>
            <p:cNvPr id="283" name="Прямоугольник 40"/>
            <p:cNvSpPr/>
            <p:nvPr/>
          </p:nvSpPr>
          <p:spPr>
            <a:xfrm>
              <a:off x="496440" y="4898608"/>
              <a:ext cx="3148920" cy="563231"/>
            </a:xfrm>
            <a:prstGeom prst="rect">
              <a:avLst/>
            </a:prstGeom>
            <a:solidFill>
              <a:srgbClr val="21354D"/>
            </a:solidFill>
            <a:ln w="3168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144000" tIns="147600" rIns="144000" bIns="183600" anchor="ctr">
              <a:noAutofit/>
            </a:bodyPr>
            <a:lstStyle/>
            <a:p>
              <a:pPr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1200" b="0" strike="noStrike" spc="-1" dirty="0">
                  <a:solidFill>
                    <a:srgbClr val="FFFFFF"/>
                  </a:solidFill>
                  <a:latin typeface="Roboto"/>
                  <a:ea typeface="Roboto" panose="02000000000000000000" pitchFamily="2" charset="0"/>
                </a:rPr>
                <a:t>Тестирование</a:t>
              </a:r>
              <a:endParaRPr lang="ru-RU" sz="1200" b="0" strike="noStrike" spc="-1" dirty="0">
                <a:latin typeface="Arial"/>
              </a:endParaRPr>
            </a:p>
          </p:txBody>
        </p:sp>
        <p:cxnSp>
          <p:nvCxnSpPr>
            <p:cNvPr id="37" name="Прямая со стрелкой 36">
              <a:extLst>
                <a:ext uri="{FF2B5EF4-FFF2-40B4-BE49-F238E27FC236}">
                  <a16:creationId xmlns:a16="http://schemas.microsoft.com/office/drawing/2014/main" id="{B5F293E9-F2CD-4648-AD23-AB8A9E45D52B}"/>
                </a:ext>
              </a:extLst>
            </p:cNvPr>
            <p:cNvCxnSpPr>
              <a:cxnSpLocks/>
              <a:stCxn id="282" idx="2"/>
              <a:endCxn id="283" idx="0"/>
            </p:cNvCxnSpPr>
            <p:nvPr/>
          </p:nvCxnSpPr>
          <p:spPr>
            <a:xfrm>
              <a:off x="2070900" y="4619013"/>
              <a:ext cx="0" cy="279595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none" w="lg" len="lg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3" name="Таблица 42">
            <a:extLst>
              <a:ext uri="{FF2B5EF4-FFF2-40B4-BE49-F238E27FC236}">
                <a16:creationId xmlns:a16="http://schemas.microsoft.com/office/drawing/2014/main" id="{5AA6DF89-E44B-4074-B4BF-0B82307790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658279"/>
              </p:ext>
            </p:extLst>
          </p:nvPr>
        </p:nvGraphicFramePr>
        <p:xfrm>
          <a:off x="8270876" y="1512443"/>
          <a:ext cx="3540124" cy="1453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0124">
                  <a:extLst>
                    <a:ext uri="{9D8B030D-6E8A-4147-A177-3AD203B41FA5}">
                      <a16:colId xmlns:a16="http://schemas.microsoft.com/office/drawing/2014/main" val="328658327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1" indent="0" algn="l" defTabSz="914400" eaLnBrk="1" fontAlgn="auto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lang="ru-RU" sz="24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дача:</a:t>
                      </a:r>
                    </a:p>
                    <a:p>
                      <a:pPr marL="0" marR="0" lvl="1" indent="0" algn="l" defTabSz="914400" eaLnBrk="1" fontAlgn="auto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rgbClr val="C00000"/>
                        </a:buClr>
                        <a:buSzTx/>
                        <a:buFont typeface="Arial" panose="020B0604020202020204" pitchFamily="34" charset="0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lang="ru-RU" sz="24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нлайн продажа билетов</a:t>
                      </a:r>
                      <a:endParaRPr lang="ru-RU" sz="2400" b="1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0" marT="72000" marB="7200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7481550"/>
                  </a:ext>
                </a:extLst>
              </a:tr>
            </a:tbl>
          </a:graphicData>
        </a:graphic>
      </p:graphicFrame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C5920628-322B-4188-8E3A-5D6C3CC2B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1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PlaceHolder 21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90" name="PlaceHolder 1"/>
          <p:cNvSpPr>
            <a:spLocks noGrp="1"/>
          </p:cNvSpPr>
          <p:nvPr>
            <p:ph type="body" sz="quarter" idx="14"/>
          </p:nvPr>
        </p:nvSpPr>
        <p:spPr>
          <a:xfrm>
            <a:off x="479425" y="2780955"/>
            <a:ext cx="3384550" cy="1925569"/>
          </a:xfrm>
        </p:spPr>
        <p:txBody>
          <a:bodyPr/>
          <a:lstStyle/>
          <a:p>
            <a:pPr lvl="1"/>
            <a:r>
              <a:rPr lang="ru-RU" sz="1800" b="1" dirty="0"/>
              <a:t>Используем новый чат</a:t>
            </a:r>
          </a:p>
          <a:p>
            <a:pPr lvl="1"/>
            <a:r>
              <a:rPr lang="ru-RU" sz="1800" b="1" dirty="0"/>
              <a:t>Все сохраняем в файлы</a:t>
            </a:r>
          </a:p>
          <a:p>
            <a:pPr lvl="1"/>
            <a:r>
              <a:rPr lang="ru-RU" sz="1800" dirty="0"/>
              <a:t>Уточняющие вопросы</a:t>
            </a:r>
          </a:p>
          <a:p>
            <a:pPr lvl="1"/>
            <a:r>
              <a:rPr lang="ru-RU" sz="1800" dirty="0" err="1"/>
              <a:t>Ревью</a:t>
            </a:r>
            <a:r>
              <a:rPr lang="ru-RU" sz="1800" dirty="0"/>
              <a:t> результатов</a:t>
            </a:r>
          </a:p>
          <a:p>
            <a:pPr lvl="1"/>
            <a:r>
              <a:rPr lang="ru-RU" sz="1800" dirty="0"/>
              <a:t>Корректиров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83345E-8C0E-49D4-A84B-0B902A521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ирование ТЗ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E46F6E7F-E3EC-4F5D-B84B-7EC7CD55C546}"/>
              </a:ext>
            </a:extLst>
          </p:cNvPr>
          <p:cNvGrpSpPr/>
          <p:nvPr/>
        </p:nvGrpSpPr>
        <p:grpSpPr>
          <a:xfrm>
            <a:off x="5499910" y="1057920"/>
            <a:ext cx="6114816" cy="5057130"/>
            <a:chOff x="5499910" y="1057920"/>
            <a:chExt cx="6114816" cy="5057130"/>
          </a:xfrm>
        </p:grpSpPr>
        <p:pic>
          <p:nvPicPr>
            <p:cNvPr id="288" name="Рисунок 287"/>
            <p:cNvPicPr/>
            <p:nvPr/>
          </p:nvPicPr>
          <p:blipFill rotWithShape="1">
            <a:blip r:embed="rId3"/>
            <a:srcRect b="28063"/>
            <a:stretch/>
          </p:blipFill>
          <p:spPr>
            <a:xfrm>
              <a:off x="5499910" y="1057920"/>
              <a:ext cx="6114816" cy="5057130"/>
            </a:xfrm>
            <a:prstGeom prst="rect">
              <a:avLst/>
            </a:prstGeom>
            <a:blipFill rotWithShape="0">
              <a:blip r:embed="rId4"/>
              <a:srcRect/>
              <a:stretch/>
            </a:blipFill>
            <a:ln w="101600">
              <a:solidFill>
                <a:srgbClr val="C2D0DF"/>
              </a:solidFill>
            </a:ln>
          </p:spPr>
        </p:pic>
        <p:sp>
          <p:nvSpPr>
            <p:cNvPr id="291" name="Прямоугольник 290"/>
            <p:cNvSpPr/>
            <p:nvPr/>
          </p:nvSpPr>
          <p:spPr>
            <a:xfrm>
              <a:off x="5557059" y="3096653"/>
              <a:ext cx="5958665" cy="563230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92" name="Прямоугольник 291"/>
            <p:cNvSpPr/>
            <p:nvPr/>
          </p:nvSpPr>
          <p:spPr>
            <a:xfrm>
              <a:off x="5557059" y="4008564"/>
              <a:ext cx="5958665" cy="563230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43560EA7-34B0-4E78-9A48-443ABE554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2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1519842-BDAA-41F1-841B-BEC05552CAAE}"/>
              </a:ext>
            </a:extLst>
          </p:cNvPr>
          <p:cNvSpPr/>
          <p:nvPr/>
        </p:nvSpPr>
        <p:spPr>
          <a:xfrm>
            <a:off x="5219700" y="806450"/>
            <a:ext cx="5264150" cy="5312110"/>
          </a:xfrm>
          <a:prstGeom prst="rect">
            <a:avLst/>
          </a:prstGeom>
          <a:solidFill>
            <a:srgbClr val="F3F3F3"/>
          </a:solidFill>
          <a:ln w="101600">
            <a:solidFill>
              <a:srgbClr val="C2D0DF"/>
            </a:solidFill>
            <a:rou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3" name="PlaceHolder 20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94" name="PlaceHolder 1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>
                <a:solidFill>
                  <a:srgbClr val="192027"/>
                </a:solidFill>
                <a:latin typeface="Roboto"/>
              </a:rPr>
              <a:t>Используем новый чат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>
                <a:solidFill>
                  <a:srgbClr val="192027"/>
                </a:solidFill>
                <a:latin typeface="Roboto"/>
              </a:rPr>
              <a:t>Все сохраняем в файлы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1" strike="noStrike" spc="-1">
                <a:solidFill>
                  <a:srgbClr val="192027"/>
                </a:solidFill>
                <a:latin typeface="Roboto"/>
              </a:rPr>
              <a:t>Уточняющие вопросы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>
                <a:solidFill>
                  <a:srgbClr val="192027"/>
                </a:solidFill>
                <a:latin typeface="Roboto"/>
              </a:rPr>
              <a:t>Ревью результатов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>
                <a:solidFill>
                  <a:srgbClr val="192027"/>
                </a:solidFill>
                <a:latin typeface="Roboto"/>
              </a:rPr>
              <a:t>Корректировка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2C57F5-9880-4EE4-91E6-D29E2D171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Формирование ТЗ</a:t>
            </a:r>
            <a:endParaRPr lang="ru-RU" dirty="0"/>
          </a:p>
        </p:txBody>
      </p:sp>
      <p:pic>
        <p:nvPicPr>
          <p:cNvPr id="295" name="Рисунок 294"/>
          <p:cNvPicPr/>
          <p:nvPr/>
        </p:nvPicPr>
        <p:blipFill>
          <a:blip r:embed="rId4"/>
          <a:srcRect b="8048"/>
          <a:stretch/>
        </p:blipFill>
        <p:spPr>
          <a:xfrm>
            <a:off x="5330112" y="917222"/>
            <a:ext cx="5066821" cy="4954109"/>
          </a:xfrm>
          <a:prstGeom prst="rect">
            <a:avLst/>
          </a:prstGeom>
          <a:ln w="0">
            <a:noFill/>
          </a:ln>
        </p:spPr>
      </p:pic>
      <p:pic>
        <p:nvPicPr>
          <p:cNvPr id="296" name="Рисунок 295"/>
          <p:cNvPicPr/>
          <p:nvPr/>
        </p:nvPicPr>
        <p:blipFill>
          <a:blip r:embed="rId5"/>
          <a:stretch/>
        </p:blipFill>
        <p:spPr>
          <a:xfrm>
            <a:off x="5330112" y="1328432"/>
            <a:ext cx="5096588" cy="4607304"/>
          </a:xfrm>
          <a:prstGeom prst="rect">
            <a:avLst/>
          </a:prstGeom>
          <a:ln w="0">
            <a:noFill/>
          </a:ln>
        </p:spPr>
      </p:pic>
      <p:pic>
        <p:nvPicPr>
          <p:cNvPr id="297" name="Рисунок 296"/>
          <p:cNvPicPr/>
          <p:nvPr/>
        </p:nvPicPr>
        <p:blipFill>
          <a:blip r:embed="rId6"/>
          <a:srcRect b="4322"/>
          <a:stretch/>
        </p:blipFill>
        <p:spPr>
          <a:xfrm>
            <a:off x="5330112" y="1308815"/>
            <a:ext cx="4501239" cy="4591697"/>
          </a:xfrm>
          <a:prstGeom prst="rect">
            <a:avLst/>
          </a:prstGeom>
          <a:ln w="0">
            <a:noFill/>
          </a:ln>
        </p:spPr>
      </p:pic>
      <p:pic>
        <p:nvPicPr>
          <p:cNvPr id="298" name="Рисунок 297"/>
          <p:cNvPicPr/>
          <p:nvPr/>
        </p:nvPicPr>
        <p:blipFill>
          <a:blip r:embed="rId7"/>
          <a:srcRect b="21663"/>
          <a:stretch/>
        </p:blipFill>
        <p:spPr>
          <a:xfrm>
            <a:off x="5347836" y="1366142"/>
            <a:ext cx="5043989" cy="4160503"/>
          </a:xfrm>
          <a:prstGeom prst="rect">
            <a:avLst/>
          </a:prstGeom>
          <a:ln w="0">
            <a:noFill/>
          </a:ln>
        </p:spPr>
      </p:pic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5E62C1A5-2F34-4D7D-9EA7-C22355C44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3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" name="Рисунок 299"/>
          <p:cNvPicPr/>
          <p:nvPr/>
        </p:nvPicPr>
        <p:blipFill>
          <a:blip r:embed="rId2"/>
          <a:stretch/>
        </p:blipFill>
        <p:spPr>
          <a:xfrm>
            <a:off x="4982760" y="2100559"/>
            <a:ext cx="6463800" cy="3159360"/>
          </a:xfrm>
          <a:prstGeom prst="rect">
            <a:avLst/>
          </a:prstGeom>
          <a:blipFill rotWithShape="0">
            <a:blip r:embed="rId3"/>
            <a:srcRect/>
            <a:stretch/>
          </a:blipFill>
          <a:ln w="101600">
            <a:solidFill>
              <a:srgbClr val="C2D0DF"/>
            </a:solidFill>
          </a:ln>
        </p:spPr>
      </p:pic>
      <p:sp>
        <p:nvSpPr>
          <p:cNvPr id="5" name="Заголовок 8">
            <a:extLst>
              <a:ext uri="{FF2B5EF4-FFF2-40B4-BE49-F238E27FC236}">
                <a16:creationId xmlns:a16="http://schemas.microsoft.com/office/drawing/2014/main" id="{3475C8FE-A418-4801-8355-EAA65E21C156}"/>
              </a:ext>
            </a:extLst>
          </p:cNvPr>
          <p:cNvSpPr txBox="1">
            <a:spLocks/>
          </p:cNvSpPr>
          <p:nvPr/>
        </p:nvSpPr>
        <p:spPr>
          <a:xfrm>
            <a:off x="479424" y="904794"/>
            <a:ext cx="9805999" cy="563231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85000"/>
              </a:lnSpc>
              <a:spcBef>
                <a:spcPts val="0"/>
              </a:spcBef>
              <a:buNone/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6" name="PlaceHolder 1">
            <a:extLst>
              <a:ext uri="{FF2B5EF4-FFF2-40B4-BE49-F238E27FC236}">
                <a16:creationId xmlns:a16="http://schemas.microsoft.com/office/drawing/2014/main" id="{8EBBD27D-6F87-4499-A4CA-75BDA611CE15}"/>
              </a:ext>
            </a:extLst>
          </p:cNvPr>
          <p:cNvSpPr txBox="1">
            <a:spLocks/>
          </p:cNvSpPr>
          <p:nvPr/>
        </p:nvSpPr>
        <p:spPr>
          <a:xfrm>
            <a:off x="479425" y="2717455"/>
            <a:ext cx="3384550" cy="1925569"/>
          </a:xfrm>
          <a:prstGeom prst="rect">
            <a:avLst/>
          </a:prstGeom>
        </p:spPr>
        <p:txBody>
          <a:bodyPr/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>
                <a:tab pos="449263" algn="l"/>
              </a:tabLst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44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7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lang="ru-RU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10000"/>
              </a:lnSpc>
              <a:spcBef>
                <a:spcPts val="1000"/>
              </a:spcBef>
              <a:spcAft>
                <a:spcPts val="700"/>
              </a:spcAft>
              <a:buFont typeface="Arial" panose="020B0604020202020204" pitchFamily="34" charset="0"/>
              <a:buNone/>
              <a:defRPr lang="ru-RU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lang="ru-RU" sz="14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800"/>
              <a:t>Используем новый чат</a:t>
            </a:r>
          </a:p>
          <a:p>
            <a:pPr lvl="1"/>
            <a:r>
              <a:rPr lang="ru-RU" sz="1800"/>
              <a:t>Все сохраняем в файлы</a:t>
            </a:r>
          </a:p>
          <a:p>
            <a:pPr lvl="1"/>
            <a:r>
              <a:rPr lang="ru-RU" sz="1800" b="1"/>
              <a:t>Уточняющие вопросы</a:t>
            </a:r>
          </a:p>
          <a:p>
            <a:pPr lvl="1"/>
            <a:r>
              <a:rPr lang="ru-RU" sz="1800"/>
              <a:t>Ревью результатов</a:t>
            </a:r>
          </a:p>
          <a:p>
            <a:pPr lvl="1"/>
            <a:r>
              <a:rPr lang="ru-RU" sz="1800"/>
              <a:t>Корректировка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087C1E93-AC38-4983-BE1D-C42AB3014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ирование ТЗ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6E59B218-A0AD-478F-ABF8-28D8E5FF3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4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443213-2AC6-4AF6-A542-7BB1B8D5C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Формирование ТЗ</a:t>
            </a:r>
            <a:endParaRPr lang="ru-RU" dirty="0"/>
          </a:p>
        </p:txBody>
      </p:sp>
      <p:pic>
        <p:nvPicPr>
          <p:cNvPr id="303" name="Рисунок 302"/>
          <p:cNvPicPr/>
          <p:nvPr/>
        </p:nvPicPr>
        <p:blipFill>
          <a:blip r:embed="rId2"/>
          <a:srcRect b="15511"/>
          <a:stretch/>
        </p:blipFill>
        <p:spPr>
          <a:xfrm>
            <a:off x="5264449" y="1047420"/>
            <a:ext cx="5395145" cy="4905786"/>
          </a:xfrm>
          <a:prstGeom prst="rect">
            <a:avLst/>
          </a:prstGeom>
          <a:blipFill rotWithShape="0">
            <a:blip r:embed="rId3"/>
            <a:srcRect/>
            <a:stretch/>
          </a:blipFill>
          <a:ln w="101600">
            <a:solidFill>
              <a:srgbClr val="C2D0DF"/>
            </a:solidFill>
          </a:ln>
        </p:spPr>
      </p:pic>
      <p:sp>
        <p:nvSpPr>
          <p:cNvPr id="304" name="PlaceHolder 23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11" name="PlaceHolder 1">
            <a:extLst>
              <a:ext uri="{FF2B5EF4-FFF2-40B4-BE49-F238E27FC236}">
                <a16:creationId xmlns:a16="http://schemas.microsoft.com/office/drawing/2014/main" id="{349B5832-689A-4902-991E-5367EF5F7970}"/>
              </a:ext>
            </a:extLst>
          </p:cNvPr>
          <p:cNvSpPr txBox="1">
            <a:spLocks/>
          </p:cNvSpPr>
          <p:nvPr/>
        </p:nvSpPr>
        <p:spPr>
          <a:xfrm>
            <a:off x="479425" y="2717455"/>
            <a:ext cx="3384550" cy="1925569"/>
          </a:xfrm>
          <a:prstGeom prst="rect">
            <a:avLst/>
          </a:prstGeom>
        </p:spPr>
        <p:txBody>
          <a:bodyPr/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>
                <a:tab pos="449263" algn="l"/>
              </a:tabLst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44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7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lang="ru-RU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10000"/>
              </a:lnSpc>
              <a:spcBef>
                <a:spcPts val="1000"/>
              </a:spcBef>
              <a:spcAft>
                <a:spcPts val="700"/>
              </a:spcAft>
              <a:buFont typeface="Arial" panose="020B0604020202020204" pitchFamily="34" charset="0"/>
              <a:buNone/>
              <a:defRPr lang="ru-RU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lang="ru-RU" sz="14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800" dirty="0"/>
              <a:t>Используем новый чат</a:t>
            </a:r>
          </a:p>
          <a:p>
            <a:pPr lvl="1"/>
            <a:r>
              <a:rPr lang="ru-RU" sz="1800" dirty="0"/>
              <a:t>Все сохраняем в файлы</a:t>
            </a:r>
          </a:p>
          <a:p>
            <a:pPr lvl="1"/>
            <a:r>
              <a:rPr lang="ru-RU" sz="1800" dirty="0"/>
              <a:t>Уточняющие вопросы</a:t>
            </a:r>
          </a:p>
          <a:p>
            <a:pPr lvl="1"/>
            <a:r>
              <a:rPr lang="ru-RU" sz="1800" b="1" dirty="0" err="1"/>
              <a:t>Ревью</a:t>
            </a:r>
            <a:r>
              <a:rPr lang="ru-RU" sz="1800" b="1" dirty="0"/>
              <a:t> результатов</a:t>
            </a:r>
          </a:p>
          <a:p>
            <a:pPr lvl="1"/>
            <a:r>
              <a:rPr lang="ru-RU" sz="1800" dirty="0"/>
              <a:t>Корректировка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293BDB05-172F-49E1-86A8-5BC6248BE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5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78BA73E-F999-4D37-AF35-284F9326F65D}"/>
              </a:ext>
            </a:extLst>
          </p:cNvPr>
          <p:cNvSpPr/>
          <p:nvPr/>
        </p:nvSpPr>
        <p:spPr>
          <a:xfrm>
            <a:off x="5027637" y="1231900"/>
            <a:ext cx="6654800" cy="4775200"/>
          </a:xfrm>
          <a:prstGeom prst="rect">
            <a:avLst/>
          </a:prstGeom>
          <a:solidFill>
            <a:srgbClr val="FFFFFF"/>
          </a:solidFill>
          <a:ln w="101600" cap="rnd">
            <a:solidFill>
              <a:srgbClr val="C2D0DF"/>
            </a:solidFill>
            <a:rou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C47021-B7B6-4C83-92C5-5EB3ADF8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Формирование ТЗ</a:t>
            </a:r>
            <a:endParaRPr lang="ru-RU" dirty="0"/>
          </a:p>
        </p:txBody>
      </p:sp>
      <p:pic>
        <p:nvPicPr>
          <p:cNvPr id="306" name="Рисунок 305"/>
          <p:cNvPicPr/>
          <p:nvPr/>
        </p:nvPicPr>
        <p:blipFill rotWithShape="1">
          <a:blip r:embed="rId2"/>
          <a:srcRect l="975" t="3594" r="2049"/>
          <a:stretch/>
        </p:blipFill>
        <p:spPr>
          <a:xfrm>
            <a:off x="5199087" y="2254965"/>
            <a:ext cx="6311900" cy="2348070"/>
          </a:xfrm>
          <a:prstGeom prst="rect">
            <a:avLst/>
          </a:prstGeom>
          <a:ln w="0">
            <a:noFill/>
          </a:ln>
        </p:spPr>
      </p:pic>
      <p:pic>
        <p:nvPicPr>
          <p:cNvPr id="307" name="Рисунок 306"/>
          <p:cNvPicPr/>
          <p:nvPr/>
        </p:nvPicPr>
        <p:blipFill rotWithShape="1">
          <a:blip r:embed="rId3"/>
          <a:srcRect l="944" r="15841" b="13485"/>
          <a:stretch/>
        </p:blipFill>
        <p:spPr>
          <a:xfrm>
            <a:off x="5110186" y="1294416"/>
            <a:ext cx="6435681" cy="4550840"/>
          </a:xfrm>
          <a:prstGeom prst="rect">
            <a:avLst/>
          </a:prstGeom>
          <a:blipFill rotWithShape="0">
            <a:blip r:embed="rId4"/>
            <a:srcRect/>
            <a:stretch/>
          </a:blipFill>
          <a:ln w="101600">
            <a:noFill/>
          </a:ln>
        </p:spPr>
      </p:pic>
      <p:sp>
        <p:nvSpPr>
          <p:cNvPr id="309" name="PlaceHolder 25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10" name="PlaceHolder 1">
            <a:extLst>
              <a:ext uri="{FF2B5EF4-FFF2-40B4-BE49-F238E27FC236}">
                <a16:creationId xmlns:a16="http://schemas.microsoft.com/office/drawing/2014/main" id="{33503034-9E54-4E9E-A5AE-D16E750BB9E1}"/>
              </a:ext>
            </a:extLst>
          </p:cNvPr>
          <p:cNvSpPr txBox="1">
            <a:spLocks/>
          </p:cNvSpPr>
          <p:nvPr/>
        </p:nvSpPr>
        <p:spPr>
          <a:xfrm>
            <a:off x="479425" y="2717455"/>
            <a:ext cx="3384550" cy="1925569"/>
          </a:xfrm>
          <a:prstGeom prst="rect">
            <a:avLst/>
          </a:prstGeom>
        </p:spPr>
        <p:txBody>
          <a:bodyPr/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449263" algn="l"/>
              </a:tabLst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44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7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lang="ru-RU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10000"/>
              </a:lnSpc>
              <a:spcBef>
                <a:spcPts val="1000"/>
              </a:spcBef>
              <a:spcAft>
                <a:spcPts val="700"/>
              </a:spcAft>
              <a:buFont typeface="Arial" panose="020B0604020202020204" pitchFamily="34" charset="0"/>
              <a:buNone/>
              <a:defRPr lang="ru-RU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lang="ru-RU" sz="14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800" dirty="0"/>
              <a:t>Используем новый чат</a:t>
            </a:r>
          </a:p>
          <a:p>
            <a:pPr lvl="1"/>
            <a:r>
              <a:rPr lang="ru-RU" sz="1800" dirty="0"/>
              <a:t>Все сохраняем в файлы</a:t>
            </a:r>
          </a:p>
          <a:p>
            <a:pPr lvl="1"/>
            <a:r>
              <a:rPr lang="ru-RU" sz="1800" dirty="0"/>
              <a:t>Уточняющие вопросы</a:t>
            </a:r>
          </a:p>
          <a:p>
            <a:pPr lvl="1"/>
            <a:r>
              <a:rPr lang="ru-RU" sz="1800" dirty="0" err="1"/>
              <a:t>Ревью</a:t>
            </a:r>
            <a:r>
              <a:rPr lang="ru-RU" sz="1800" dirty="0"/>
              <a:t> результатов</a:t>
            </a:r>
          </a:p>
          <a:p>
            <a:pPr lvl="1"/>
            <a:r>
              <a:rPr lang="ru-RU" sz="1800" b="1" dirty="0"/>
              <a:t>Корректировка</a:t>
            </a:r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9A0D6A3B-EA6A-4157-A24A-B774D6971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6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C50F99D-E90A-4713-A10D-6450AE1611A7}"/>
              </a:ext>
            </a:extLst>
          </p:cNvPr>
          <p:cNvSpPr/>
          <p:nvPr/>
        </p:nvSpPr>
        <p:spPr>
          <a:xfrm>
            <a:off x="3955738" y="1860550"/>
            <a:ext cx="7650499" cy="3854450"/>
          </a:xfrm>
          <a:prstGeom prst="rect">
            <a:avLst/>
          </a:prstGeom>
          <a:solidFill>
            <a:srgbClr val="FFFFFF"/>
          </a:solidFill>
          <a:ln w="101600" cap="rnd">
            <a:solidFill>
              <a:srgbClr val="C2D0DF"/>
            </a:solidFill>
            <a:rou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B0F081-D0C8-40F1-8BDE-04FE00AB9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Формирование ТЗ</a:t>
            </a:r>
            <a:endParaRPr lang="ru-RU" dirty="0"/>
          </a:p>
        </p:txBody>
      </p:sp>
      <p:pic>
        <p:nvPicPr>
          <p:cNvPr id="311" name="Рисунок 310"/>
          <p:cNvPicPr/>
          <p:nvPr/>
        </p:nvPicPr>
        <p:blipFill rotWithShape="1">
          <a:blip r:embed="rId2"/>
          <a:srcRect l="1110" t="2931" r="2216"/>
          <a:stretch/>
        </p:blipFill>
        <p:spPr>
          <a:xfrm>
            <a:off x="4146754" y="2141358"/>
            <a:ext cx="7365796" cy="2767628"/>
          </a:xfrm>
          <a:prstGeom prst="rect">
            <a:avLst/>
          </a:prstGeom>
          <a:ln w="0">
            <a:noFill/>
          </a:ln>
        </p:spPr>
      </p:pic>
      <p:pic>
        <p:nvPicPr>
          <p:cNvPr id="312" name="Рисунок 311"/>
          <p:cNvPicPr/>
          <p:nvPr/>
        </p:nvPicPr>
        <p:blipFill rotWithShape="1">
          <a:blip r:embed="rId3"/>
          <a:srcRect l="1619" r="-92"/>
          <a:stretch/>
        </p:blipFill>
        <p:spPr>
          <a:xfrm>
            <a:off x="4081053" y="1992080"/>
            <a:ext cx="7431498" cy="3621867"/>
          </a:xfrm>
          <a:prstGeom prst="rect">
            <a:avLst/>
          </a:prstGeom>
          <a:ln w="0">
            <a:noFill/>
          </a:ln>
        </p:spPr>
      </p:pic>
      <p:sp>
        <p:nvSpPr>
          <p:cNvPr id="313" name="PlaceHolder 26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13" name="PlaceHolder 1">
            <a:extLst>
              <a:ext uri="{FF2B5EF4-FFF2-40B4-BE49-F238E27FC236}">
                <a16:creationId xmlns:a16="http://schemas.microsoft.com/office/drawing/2014/main" id="{32693663-CB73-45E2-9B57-F95E62CFE48B}"/>
              </a:ext>
            </a:extLst>
          </p:cNvPr>
          <p:cNvSpPr txBox="1">
            <a:spLocks/>
          </p:cNvSpPr>
          <p:nvPr/>
        </p:nvSpPr>
        <p:spPr>
          <a:xfrm>
            <a:off x="479425" y="2717455"/>
            <a:ext cx="3384550" cy="1925569"/>
          </a:xfrm>
          <a:prstGeom prst="rect">
            <a:avLst/>
          </a:prstGeom>
        </p:spPr>
        <p:txBody>
          <a:bodyPr/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>
                <a:tab pos="449263" algn="l"/>
              </a:tabLst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44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7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lang="ru-RU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10000"/>
              </a:lnSpc>
              <a:spcBef>
                <a:spcPts val="1000"/>
              </a:spcBef>
              <a:spcAft>
                <a:spcPts val="700"/>
              </a:spcAft>
              <a:buFont typeface="Arial" panose="020B0604020202020204" pitchFamily="34" charset="0"/>
              <a:buNone/>
              <a:defRPr lang="ru-RU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lang="ru-RU" sz="14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800" dirty="0"/>
              <a:t>Используем новый чат</a:t>
            </a:r>
          </a:p>
          <a:p>
            <a:pPr lvl="1"/>
            <a:r>
              <a:rPr lang="ru-RU" sz="1800" dirty="0"/>
              <a:t>Все сохраняем в файлы</a:t>
            </a:r>
          </a:p>
          <a:p>
            <a:pPr lvl="1"/>
            <a:r>
              <a:rPr lang="ru-RU" sz="1800" dirty="0"/>
              <a:t>Уточняющие вопросы</a:t>
            </a:r>
          </a:p>
          <a:p>
            <a:pPr lvl="1"/>
            <a:r>
              <a:rPr lang="ru-RU" sz="1800" dirty="0" err="1"/>
              <a:t>Ревью</a:t>
            </a:r>
            <a:r>
              <a:rPr lang="ru-RU" sz="1800" dirty="0"/>
              <a:t> результатов</a:t>
            </a:r>
          </a:p>
          <a:p>
            <a:pPr lvl="1"/>
            <a:r>
              <a:rPr lang="ru-RU" sz="1800" b="1" dirty="0"/>
              <a:t>Корректировка</a:t>
            </a:r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05596F32-9986-4FEA-946F-FB3B5E0E3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7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B8249B9-281D-45D3-B3C8-E1D40BBDD4DE}"/>
              </a:ext>
            </a:extLst>
          </p:cNvPr>
          <p:cNvSpPr/>
          <p:nvPr/>
        </p:nvSpPr>
        <p:spPr>
          <a:xfrm>
            <a:off x="5854700" y="1053531"/>
            <a:ext cx="4692649" cy="4925075"/>
          </a:xfrm>
          <a:prstGeom prst="rect">
            <a:avLst/>
          </a:prstGeom>
          <a:solidFill>
            <a:srgbClr val="FFFFFF"/>
          </a:solidFill>
          <a:ln w="101600" cap="rnd">
            <a:solidFill>
              <a:srgbClr val="C2D0DF"/>
            </a:solidFill>
            <a:rou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4" name="PlaceHolder 27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15" name="Рисунок 314"/>
          <p:cNvPicPr/>
          <p:nvPr/>
        </p:nvPicPr>
        <p:blipFill>
          <a:blip r:embed="rId2"/>
          <a:stretch/>
        </p:blipFill>
        <p:spPr>
          <a:xfrm>
            <a:off x="5994400" y="1225550"/>
            <a:ext cx="4433960" cy="4597969"/>
          </a:xfrm>
          <a:prstGeom prst="rect">
            <a:avLst/>
          </a:prstGeom>
          <a:ln w="0"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260217-A7BB-4389-878A-3DE8FBBD2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Формирование ТЗ</a:t>
            </a:r>
            <a:endParaRPr lang="ru-RU" dirty="0"/>
          </a:p>
        </p:txBody>
      </p:sp>
      <p:sp>
        <p:nvSpPr>
          <p:cNvPr id="9" name="PlaceHolder 1">
            <a:extLst>
              <a:ext uri="{FF2B5EF4-FFF2-40B4-BE49-F238E27FC236}">
                <a16:creationId xmlns:a16="http://schemas.microsoft.com/office/drawing/2014/main" id="{5514E4D2-F014-4F9A-BE59-D4382CAF5C95}"/>
              </a:ext>
            </a:extLst>
          </p:cNvPr>
          <p:cNvSpPr txBox="1">
            <a:spLocks/>
          </p:cNvSpPr>
          <p:nvPr/>
        </p:nvSpPr>
        <p:spPr>
          <a:xfrm>
            <a:off x="479425" y="2717455"/>
            <a:ext cx="3384550" cy="1925569"/>
          </a:xfrm>
          <a:prstGeom prst="rect">
            <a:avLst/>
          </a:prstGeom>
        </p:spPr>
        <p:txBody>
          <a:bodyPr/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>
                <a:tab pos="449263" algn="l"/>
              </a:tabLst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4400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lang="ru-RU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7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lang="ru-RU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10000"/>
              </a:lnSpc>
              <a:spcBef>
                <a:spcPts val="1000"/>
              </a:spcBef>
              <a:spcAft>
                <a:spcPts val="700"/>
              </a:spcAft>
              <a:buFont typeface="Arial" panose="020B0604020202020204" pitchFamily="34" charset="0"/>
              <a:buNone/>
              <a:defRPr lang="ru-RU" sz="20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lang="ru-RU" sz="14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800" dirty="0"/>
              <a:t>Используем новый чат</a:t>
            </a:r>
          </a:p>
          <a:p>
            <a:pPr lvl="1"/>
            <a:r>
              <a:rPr lang="ru-RU" sz="1800" dirty="0"/>
              <a:t>Все сохраняем в файлы</a:t>
            </a:r>
          </a:p>
          <a:p>
            <a:pPr lvl="1"/>
            <a:r>
              <a:rPr lang="ru-RU" sz="1800" dirty="0"/>
              <a:t>Уточняющие вопросы</a:t>
            </a:r>
          </a:p>
          <a:p>
            <a:pPr lvl="1"/>
            <a:r>
              <a:rPr lang="ru-RU" sz="1800" dirty="0" err="1"/>
              <a:t>Ревью</a:t>
            </a:r>
            <a:r>
              <a:rPr lang="ru-RU" sz="1800" dirty="0"/>
              <a:t> результатов</a:t>
            </a:r>
          </a:p>
          <a:p>
            <a:pPr lvl="1"/>
            <a:r>
              <a:rPr lang="ru-RU" sz="1800" dirty="0"/>
              <a:t>Корректировка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0801BD2-802C-4305-8CAB-836E77B5E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8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PlaceHolder 29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318" name="Текст 30"/>
          <p:cNvSpPr/>
          <p:nvPr/>
        </p:nvSpPr>
        <p:spPr>
          <a:xfrm>
            <a:off x="479520" y="72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Визуализация доработок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Еще один уровень контроля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Артефакты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319" name="Рисунок 318"/>
          <p:cNvPicPr/>
          <p:nvPr/>
        </p:nvPicPr>
        <p:blipFill>
          <a:blip r:embed="rId4"/>
          <a:stretch/>
        </p:blipFill>
        <p:spPr>
          <a:xfrm>
            <a:off x="5270400" y="863050"/>
            <a:ext cx="5145840" cy="3524800"/>
          </a:xfrm>
          <a:prstGeom prst="rect">
            <a:avLst/>
          </a:prstGeom>
          <a:blipFill rotWithShape="0">
            <a:blip r:embed="rId5"/>
            <a:srcRect/>
            <a:stretch/>
          </a:blipFill>
          <a:ln w="101600">
            <a:solidFill>
              <a:srgbClr val="C2D0DF"/>
            </a:solidFill>
          </a:ln>
        </p:spPr>
      </p:pic>
      <p:pic>
        <p:nvPicPr>
          <p:cNvPr id="320" name="Рисунок 319"/>
          <p:cNvPicPr/>
          <p:nvPr/>
        </p:nvPicPr>
        <p:blipFill>
          <a:blip r:embed="rId6"/>
          <a:stretch/>
        </p:blipFill>
        <p:spPr>
          <a:xfrm>
            <a:off x="6455713" y="864983"/>
            <a:ext cx="4008472" cy="3538347"/>
          </a:xfrm>
          <a:prstGeom prst="rect">
            <a:avLst/>
          </a:prstGeom>
          <a:blipFill rotWithShape="0">
            <a:blip r:embed="rId5"/>
            <a:srcRect/>
            <a:stretch/>
          </a:blipFill>
          <a:ln w="101600">
            <a:solidFill>
              <a:srgbClr val="C2D0DF"/>
            </a:solidFill>
          </a:ln>
        </p:spPr>
      </p:pic>
      <p:pic>
        <p:nvPicPr>
          <p:cNvPr id="321" name="Рисунок 320"/>
          <p:cNvPicPr/>
          <p:nvPr/>
        </p:nvPicPr>
        <p:blipFill>
          <a:blip r:embed="rId7"/>
          <a:stretch/>
        </p:blipFill>
        <p:spPr>
          <a:xfrm>
            <a:off x="7664451" y="863050"/>
            <a:ext cx="3213992" cy="5090158"/>
          </a:xfrm>
          <a:prstGeom prst="rect">
            <a:avLst/>
          </a:prstGeom>
          <a:blipFill rotWithShape="0">
            <a:blip r:embed="rId5"/>
            <a:srcRect/>
            <a:stretch/>
          </a:blipFill>
          <a:ln w="101600">
            <a:solidFill>
              <a:srgbClr val="C2D0DF"/>
            </a:solidFill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236AA1-C4F1-4E87-8B38-4123A82E6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Архитектура</a:t>
            </a:r>
            <a:endParaRPr lang="ru-RU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7C4D315D-954B-48C0-AFB1-1A21A8CDA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19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61CA481-7770-4A14-A711-034E88C05C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9B92D-EFBE-40E3-AEE8-C63E39E4C06C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8BD07BC-69B6-4B44-9BAE-07E5B67D9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21694"/>
            <a:ext cx="9769475" cy="64633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pc="-1" dirty="0">
                <a:solidFill>
                  <a:srgbClr val="000000"/>
                </a:solidFill>
                <a:latin typeface="Arial"/>
                <a:ea typeface="Roboto" panose="02000000000000000000" pitchFamily="2" charset="0"/>
              </a:rPr>
              <a:t>Алексей Корякин</a:t>
            </a:r>
            <a:endParaRPr lang="ru-RU" b="0" spc="-1" dirty="0">
              <a:latin typeface="Arial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76A6EE1A-F541-48B0-B25B-0047F366493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424" y="1518920"/>
            <a:ext cx="6454776" cy="604520"/>
          </a:xfrm>
        </p:spPr>
        <p:txBody>
          <a:bodyPr anchor="t"/>
          <a:lstStyle/>
          <a:p>
            <a:pPr lvl="4"/>
            <a:r>
              <a:rPr lang="ru-RU" sz="2000" dirty="0"/>
              <a:t>Ведущий инженер в области развития инноваций</a:t>
            </a:r>
          </a:p>
          <a:p>
            <a:pPr lvl="4"/>
            <a:endParaRPr lang="ru-RU" sz="2000" dirty="0"/>
          </a:p>
        </p:txBody>
      </p:sp>
      <p:sp>
        <p:nvSpPr>
          <p:cNvPr id="14" name="Текст 11">
            <a:extLst>
              <a:ext uri="{FF2B5EF4-FFF2-40B4-BE49-F238E27FC236}">
                <a16:creationId xmlns:a16="http://schemas.microsoft.com/office/drawing/2014/main" id="{2AEF2500-A74D-4F77-8CE0-790A1AEF1A11}"/>
              </a:ext>
            </a:extLst>
          </p:cNvPr>
          <p:cNvSpPr txBox="1">
            <a:spLocks/>
          </p:cNvSpPr>
          <p:nvPr/>
        </p:nvSpPr>
        <p:spPr bwMode="auto">
          <a:xfrm>
            <a:off x="479424" y="3242805"/>
            <a:ext cx="4524376" cy="12095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C00000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>
                <a:tab pos="449263" algn="l"/>
              </a:tabLst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lang="ru-RU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Font typeface="Arial" panose="020B0604020202020204" pitchFamily="34" charset="0"/>
              <a:buNone/>
              <a:defRPr lang="ru-RU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spcAft>
                <a:spcPts val="1200"/>
              </a:spcAft>
            </a:pPr>
            <a:r>
              <a:rPr lang="ru-RU" sz="2400" dirty="0"/>
              <a:t>Проекты на 1С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accent1"/>
                </a:solidFill>
              </a:rPr>
              <a:t>&gt;</a:t>
            </a:r>
          </a:p>
          <a:p>
            <a:pPr lvl="1">
              <a:buSzPct val="100017"/>
              <a:buBlip>
                <a:blip r:embed="rId5"/>
              </a:buBlip>
              <a:tabLst>
                <a:tab pos="449280" algn="l"/>
              </a:tabLst>
            </a:pPr>
            <a:r>
              <a:rPr lang="en-US" sz="1800" b="1" spc="-1" dirty="0" err="1"/>
              <a:t>YAxUnit</a:t>
            </a:r>
            <a:r>
              <a:rPr lang="en-US" sz="1800" b="1" spc="-1" dirty="0"/>
              <a:t> </a:t>
            </a:r>
            <a:r>
              <a:rPr lang="en-US" sz="1800" spc="-1" dirty="0"/>
              <a:t>— </a:t>
            </a:r>
            <a:r>
              <a:rPr lang="ru-RU" sz="1800" spc="-1" dirty="0"/>
              <a:t>фреймворк тестирования 1С</a:t>
            </a:r>
          </a:p>
        </p:txBody>
      </p:sp>
      <p:sp>
        <p:nvSpPr>
          <p:cNvPr id="15" name="Текст 11">
            <a:extLst>
              <a:ext uri="{FF2B5EF4-FFF2-40B4-BE49-F238E27FC236}">
                <a16:creationId xmlns:a16="http://schemas.microsoft.com/office/drawing/2014/main" id="{C31A64DD-BF01-4AA6-8F93-CA1FB7417C1E}"/>
              </a:ext>
            </a:extLst>
          </p:cNvPr>
          <p:cNvSpPr txBox="1">
            <a:spLocks/>
          </p:cNvSpPr>
          <p:nvPr/>
        </p:nvSpPr>
        <p:spPr bwMode="auto">
          <a:xfrm>
            <a:off x="5618160" y="3242804"/>
            <a:ext cx="4681539" cy="195403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C00000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>
                <a:tab pos="449263" algn="l"/>
              </a:tabLst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lang="ru-RU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Font typeface="Arial" panose="020B0604020202020204" pitchFamily="34" charset="0"/>
              <a:buNone/>
              <a:defRPr lang="ru-RU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marR="0" indent="-18000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spcAft>
                <a:spcPts val="1200"/>
              </a:spcAft>
            </a:pPr>
            <a:r>
              <a:rPr lang="ru-RU" sz="2400" dirty="0"/>
              <a:t>Проекты на </a:t>
            </a:r>
            <a:r>
              <a:rPr lang="ru-RU" sz="2400" dirty="0" err="1"/>
              <a:t>Kotlin</a:t>
            </a:r>
            <a:r>
              <a:rPr lang="ru-RU" sz="2400" dirty="0"/>
              <a:t> </a:t>
            </a:r>
            <a:r>
              <a:rPr lang="en-US" sz="2400" dirty="0">
                <a:solidFill>
                  <a:schemeClr val="accent1"/>
                </a:solidFill>
              </a:rPr>
              <a:t>&gt;</a:t>
            </a:r>
          </a:p>
          <a:p>
            <a:pPr lvl="1">
              <a:buSzPct val="100017"/>
              <a:buBlip>
                <a:blip r:embed="rId5"/>
              </a:buBlip>
              <a:tabLst>
                <a:tab pos="449280" algn="l"/>
              </a:tabLst>
            </a:pPr>
            <a:r>
              <a:rPr lang="ru-RU" sz="1800" b="1" spc="-1" dirty="0" err="1"/>
              <a:t>Mcp-onec-test-runner</a:t>
            </a:r>
            <a:r>
              <a:rPr lang="ru-RU" sz="1800" spc="-1" dirty="0"/>
              <a:t> — сборка и запуск проектов из AI-агента</a:t>
            </a:r>
            <a:endParaRPr lang="ru-RU" sz="1800" spc="-1" dirty="0">
              <a:latin typeface="Arial"/>
            </a:endParaRPr>
          </a:p>
          <a:p>
            <a:pPr lvl="1">
              <a:buSzPct val="100017"/>
              <a:buBlip>
                <a:blip r:embed="rId5"/>
              </a:buBlip>
              <a:tabLst>
                <a:tab pos="449280" algn="l"/>
              </a:tabLst>
            </a:pPr>
            <a:r>
              <a:rPr lang="ru-RU" sz="1800" b="1" spc="-1" dirty="0" err="1"/>
              <a:t>Mcp-bsl-context</a:t>
            </a:r>
            <a:r>
              <a:rPr lang="ru-RU" sz="1800" spc="-1" dirty="0"/>
              <a:t> — предоставление справки по платформе для AI-агента</a:t>
            </a:r>
            <a:endParaRPr lang="ru-RU" sz="1800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603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6A76803-887F-4753-97AA-80D1AD6B810C}"/>
              </a:ext>
            </a:extLst>
          </p:cNvPr>
          <p:cNvSpPr/>
          <p:nvPr/>
        </p:nvSpPr>
        <p:spPr>
          <a:xfrm>
            <a:off x="4286250" y="1174750"/>
            <a:ext cx="7396187" cy="4832350"/>
          </a:xfrm>
          <a:prstGeom prst="rect">
            <a:avLst/>
          </a:prstGeom>
          <a:solidFill>
            <a:srgbClr val="FFFFFF"/>
          </a:solidFill>
          <a:ln w="101600" cap="rnd">
            <a:solidFill>
              <a:srgbClr val="C2D0DF"/>
            </a:solidFill>
            <a:rou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2" name="PlaceHolder 30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23" name="Рисунок 322"/>
          <p:cNvPicPr/>
          <p:nvPr/>
        </p:nvPicPr>
        <p:blipFill>
          <a:blip r:embed="rId3"/>
          <a:stretch/>
        </p:blipFill>
        <p:spPr>
          <a:xfrm>
            <a:off x="6102577" y="1287855"/>
            <a:ext cx="3960959" cy="4584025"/>
          </a:xfrm>
          <a:prstGeom prst="rect">
            <a:avLst/>
          </a:prstGeom>
          <a:blipFill rotWithShape="0">
            <a:blip r:embed="rId4"/>
            <a:srcRect/>
            <a:stretch/>
          </a:blipFill>
          <a:ln w="101600">
            <a:noFill/>
          </a:ln>
        </p:spPr>
      </p:pic>
      <p:pic>
        <p:nvPicPr>
          <p:cNvPr id="324" name="Рисунок 323"/>
          <p:cNvPicPr/>
          <p:nvPr/>
        </p:nvPicPr>
        <p:blipFill>
          <a:blip r:embed="rId5"/>
          <a:stretch/>
        </p:blipFill>
        <p:spPr>
          <a:xfrm>
            <a:off x="5182183" y="1287856"/>
            <a:ext cx="5801747" cy="4350944"/>
          </a:xfrm>
          <a:prstGeom prst="rect">
            <a:avLst/>
          </a:prstGeom>
          <a:blipFill rotWithShape="0">
            <a:blip r:embed="rId4"/>
            <a:srcRect/>
            <a:stretch/>
          </a:blipFill>
          <a:ln w="101600">
            <a:noFill/>
          </a:ln>
        </p:spPr>
      </p:pic>
      <p:pic>
        <p:nvPicPr>
          <p:cNvPr id="325" name="Рисунок 324"/>
          <p:cNvPicPr/>
          <p:nvPr/>
        </p:nvPicPr>
        <p:blipFill>
          <a:blip r:embed="rId6"/>
          <a:stretch/>
        </p:blipFill>
        <p:spPr>
          <a:xfrm>
            <a:off x="5182183" y="1287855"/>
            <a:ext cx="5801747" cy="4573195"/>
          </a:xfrm>
          <a:prstGeom prst="rect">
            <a:avLst/>
          </a:prstGeom>
          <a:blipFill rotWithShape="0">
            <a:blip r:embed="rId4"/>
            <a:srcRect/>
            <a:stretch/>
          </a:blipFill>
          <a:ln w="101600">
            <a:noFill/>
          </a:ln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71A88F-5C62-4829-8D25-A89967F12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Архитектура</a:t>
            </a:r>
            <a:endParaRPr lang="ru-RU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AC63FE3E-0A79-4D2F-A3B3-28183473C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0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Текст 32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Детальный план реализации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Разбит на этапы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Подробная информация об изменения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Отслеживание прогресса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327" name="Рисунок 326"/>
          <p:cNvPicPr/>
          <p:nvPr/>
        </p:nvPicPr>
        <p:blipFill>
          <a:blip r:embed="rId4"/>
          <a:srcRect r="25992"/>
          <a:stretch/>
        </p:blipFill>
        <p:spPr>
          <a:xfrm>
            <a:off x="5453112" y="1047750"/>
            <a:ext cx="5156755" cy="4827670"/>
          </a:xfrm>
          <a:prstGeom prst="rect">
            <a:avLst/>
          </a:prstGeom>
          <a:blipFill rotWithShape="0">
            <a:blip r:embed="rId5"/>
            <a:srcRect/>
            <a:stretch/>
          </a:blipFill>
          <a:ln w="101600">
            <a:solidFill>
              <a:srgbClr val="C2D0DF"/>
            </a:solidFill>
          </a:ln>
        </p:spPr>
      </p:pic>
      <p:sp>
        <p:nvSpPr>
          <p:cNvPr id="328" name="PlaceHolder 32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45B336-BBD9-4ED2-8A02-57745C249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План реализации</a:t>
            </a:r>
            <a:endParaRPr lang="ru-RU" dirty="0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5F04368E-A9E4-4EBF-A39E-DE3FEF169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1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Текст 33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Ревью</a:t>
            </a: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 плана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Внесение корректировок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330" name="Рисунок 329"/>
          <p:cNvPicPr/>
          <p:nvPr/>
        </p:nvPicPr>
        <p:blipFill>
          <a:blip r:embed="rId3"/>
          <a:srcRect b="9172"/>
          <a:stretch/>
        </p:blipFill>
        <p:spPr>
          <a:xfrm>
            <a:off x="4740584" y="1123950"/>
            <a:ext cx="6427234" cy="4829256"/>
          </a:xfrm>
          <a:prstGeom prst="rect">
            <a:avLst/>
          </a:prstGeom>
          <a:blipFill rotWithShape="0">
            <a:blip r:embed="rId4"/>
            <a:srcRect/>
            <a:stretch/>
          </a:blipFill>
          <a:ln w="101600">
            <a:solidFill>
              <a:srgbClr val="C2D0DF"/>
            </a:solidFill>
          </a:ln>
        </p:spPr>
      </p:pic>
      <p:pic>
        <p:nvPicPr>
          <p:cNvPr id="331" name="Рисунок 330"/>
          <p:cNvPicPr/>
          <p:nvPr/>
        </p:nvPicPr>
        <p:blipFill>
          <a:blip r:embed="rId5"/>
          <a:stretch/>
        </p:blipFill>
        <p:spPr>
          <a:xfrm>
            <a:off x="4740583" y="3128204"/>
            <a:ext cx="6427234" cy="1612683"/>
          </a:xfrm>
          <a:prstGeom prst="rect">
            <a:avLst/>
          </a:prstGeom>
          <a:ln w="0">
            <a:noFill/>
          </a:ln>
        </p:spPr>
      </p:pic>
      <p:sp>
        <p:nvSpPr>
          <p:cNvPr id="332" name="PlaceHolder 40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AB6CF0-A5F8-45DC-BF82-FE664FF0B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План реализации</a:t>
            </a:r>
            <a:endParaRPr lang="ru-RU" dirty="0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6E12AA9A-87E8-4703-ABEC-7908E622E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2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051CA47-7C98-4F5A-9B38-D0727AA997A7}"/>
              </a:ext>
            </a:extLst>
          </p:cNvPr>
          <p:cNvSpPr/>
          <p:nvPr/>
        </p:nvSpPr>
        <p:spPr>
          <a:xfrm>
            <a:off x="4908550" y="1174750"/>
            <a:ext cx="6773887" cy="483235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3" name="Рисунок 332"/>
          <p:cNvPicPr/>
          <p:nvPr/>
        </p:nvPicPr>
        <p:blipFill>
          <a:blip r:embed="rId2"/>
          <a:stretch/>
        </p:blipFill>
        <p:spPr>
          <a:xfrm>
            <a:off x="5486400" y="1737981"/>
            <a:ext cx="5467352" cy="3881181"/>
          </a:xfrm>
          <a:prstGeom prst="rect">
            <a:avLst/>
          </a:prstGeom>
          <a:ln w="0">
            <a:noFill/>
          </a:ln>
        </p:spPr>
      </p:pic>
      <p:sp>
        <p:nvSpPr>
          <p:cNvPr id="334" name="Текст 12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Ревью</a:t>
            </a: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 плана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Внесение корректировок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35" name="PlaceHolder 39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36" name="Рисунок 335"/>
          <p:cNvPicPr/>
          <p:nvPr/>
        </p:nvPicPr>
        <p:blipFill>
          <a:blip r:embed="rId4"/>
          <a:srcRect b="32350"/>
          <a:stretch/>
        </p:blipFill>
        <p:spPr>
          <a:xfrm>
            <a:off x="5571340" y="1347876"/>
            <a:ext cx="5289550" cy="4486098"/>
          </a:xfrm>
          <a:prstGeom prst="rect">
            <a:avLst/>
          </a:prstGeom>
          <a:ln w="0"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F4E696-CCC7-4D14-A239-944D45CF3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План реализации</a:t>
            </a:r>
            <a:endParaRPr lang="ru-RU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DDEE6D28-D46F-4D8D-B5EE-0203DA19C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3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Текст 12">
            <a:extLst>
              <a:ext uri="{FF2B5EF4-FFF2-40B4-BE49-F238E27FC236}">
                <a16:creationId xmlns:a16="http://schemas.microsoft.com/office/drawing/2014/main" id="{81C84BCE-86F7-4605-B9C3-E69B9758A7A7}"/>
              </a:ext>
            </a:extLst>
          </p:cNvPr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Ревью</a:t>
            </a: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 плана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Внесение корректировок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340" name="Рисунок 339"/>
          <p:cNvPicPr/>
          <p:nvPr/>
        </p:nvPicPr>
        <p:blipFill>
          <a:blip r:embed="rId4"/>
          <a:stretch/>
        </p:blipFill>
        <p:spPr>
          <a:xfrm>
            <a:off x="5712268" y="1104725"/>
            <a:ext cx="5940062" cy="464855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341" name="Прямоугольник 340"/>
          <p:cNvSpPr/>
          <p:nvPr/>
        </p:nvSpPr>
        <p:spPr>
          <a:xfrm>
            <a:off x="5903149" y="4715796"/>
            <a:ext cx="5469400" cy="489550"/>
          </a:xfrm>
          <a:prstGeom prst="rect">
            <a:avLst/>
          </a:prstGeom>
          <a:noFill/>
          <a:ln w="38100">
            <a:solidFill>
              <a:srgbClr val="C00000"/>
            </a:solidFill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EAC3FBA-9CBC-4A88-A1C1-06C03C763A49}"/>
              </a:ext>
            </a:extLst>
          </p:cNvPr>
          <p:cNvSpPr txBox="1">
            <a:spLocks/>
          </p:cNvSpPr>
          <p:nvPr/>
        </p:nvSpPr>
        <p:spPr bwMode="auto">
          <a:xfrm>
            <a:off x="479424" y="904794"/>
            <a:ext cx="9820377" cy="563231"/>
          </a:xfrm>
          <a:prstGeom prst="rect">
            <a:avLst/>
          </a:prstGeom>
        </p:spPr>
        <p:txBody>
          <a:bodyPr vert="horz" wrap="square" lIns="0" tIns="45720" rIns="91440" bIns="45720" rtlCol="0" anchor="b" anchorCtr="0">
            <a:spAutoFit/>
          </a:bodyPr>
          <a:lstStyle>
            <a:lvl1pPr algn="l" defTabSz="914400">
              <a:lnSpc>
                <a:spcPct val="85000"/>
              </a:lnSpc>
              <a:spcBef>
                <a:spcPts val="0"/>
              </a:spcBef>
              <a:buNone/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План реализации</a:t>
            </a:r>
            <a:endParaRPr lang="ru-RU" dirty="0"/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5B41DAAA-C7C6-4D14-8E7E-B3AC45A2E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4</a:t>
            </a:fld>
            <a:endParaRPr lang="ru-RU"/>
          </a:p>
        </p:txBody>
      </p:sp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A5759E52-5F1E-400B-BD81-46A033EFE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32FDC859-89F3-4F9A-A3F2-B397480480C8}"/>
              </a:ext>
            </a:extLst>
          </p:cNvPr>
          <p:cNvGrpSpPr/>
          <p:nvPr/>
        </p:nvGrpSpPr>
        <p:grpSpPr>
          <a:xfrm>
            <a:off x="571420" y="1835149"/>
            <a:ext cx="11132827" cy="4147599"/>
            <a:chOff x="571420" y="1835149"/>
            <a:chExt cx="11132827" cy="4147599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327435FE-A986-4B8E-8E16-7C6347B6A11B}"/>
                </a:ext>
              </a:extLst>
            </p:cNvPr>
            <p:cNvGrpSpPr/>
            <p:nvPr/>
          </p:nvGrpSpPr>
          <p:grpSpPr>
            <a:xfrm>
              <a:off x="571420" y="1835149"/>
              <a:ext cx="11132827" cy="4147599"/>
              <a:chOff x="490861" y="1806295"/>
              <a:chExt cx="11210278" cy="4176454"/>
            </a:xfrm>
          </p:grpSpPr>
          <p:sp>
            <p:nvSpPr>
              <p:cNvPr id="5" name="Прямоугольник 4">
                <a:extLst>
                  <a:ext uri="{FF2B5EF4-FFF2-40B4-BE49-F238E27FC236}">
                    <a16:creationId xmlns:a16="http://schemas.microsoft.com/office/drawing/2014/main" id="{1852E0E5-67C6-4D45-805A-64EE1842A415}"/>
                  </a:ext>
                </a:extLst>
              </p:cNvPr>
              <p:cNvSpPr/>
              <p:nvPr/>
            </p:nvSpPr>
            <p:spPr>
              <a:xfrm>
                <a:off x="490861" y="1806295"/>
                <a:ext cx="11210278" cy="4176454"/>
              </a:xfrm>
              <a:prstGeom prst="rect">
                <a:avLst/>
              </a:prstGeom>
              <a:solidFill>
                <a:srgbClr val="F3F3F3"/>
              </a:solidFill>
              <a:ln w="101600" cap="rnd">
                <a:solidFill>
                  <a:srgbClr val="C2D0DF"/>
                </a:solidFill>
                <a:rou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700"/>
              </a:p>
            </p:txBody>
          </p:sp>
          <p:grpSp>
            <p:nvGrpSpPr>
              <p:cNvPr id="4" name="Группа 3">
                <a:extLst>
                  <a:ext uri="{FF2B5EF4-FFF2-40B4-BE49-F238E27FC236}">
                    <a16:creationId xmlns:a16="http://schemas.microsoft.com/office/drawing/2014/main" id="{76C66BF5-D340-42FB-B5BF-2666B96C0B54}"/>
                  </a:ext>
                </a:extLst>
              </p:cNvPr>
              <p:cNvGrpSpPr/>
              <p:nvPr/>
            </p:nvGrpSpPr>
            <p:grpSpPr>
              <a:xfrm>
                <a:off x="1446810" y="1920981"/>
                <a:ext cx="9298379" cy="3908169"/>
                <a:chOff x="1033800" y="1606210"/>
                <a:chExt cx="10466050" cy="4398949"/>
              </a:xfrm>
            </p:grpSpPr>
            <p:pic>
              <p:nvPicPr>
                <p:cNvPr id="342" name="Рисунок 341"/>
                <p:cNvPicPr/>
                <p:nvPr/>
              </p:nvPicPr>
              <p:blipFill>
                <a:blip r:embed="rId5"/>
                <a:stretch/>
              </p:blipFill>
              <p:spPr>
                <a:xfrm>
                  <a:off x="1033800" y="1606210"/>
                  <a:ext cx="10466050" cy="4398949"/>
                </a:xfrm>
                <a:prstGeom prst="rect">
                  <a:avLst/>
                </a:prstGeom>
                <a:solidFill>
                  <a:srgbClr val="F3F3F3"/>
                </a:solidFill>
                <a:ln w="101600" cap="rnd">
                  <a:noFill/>
                  <a:round/>
                </a:ln>
              </p:spPr>
            </p:pic>
            <p:sp>
              <p:nvSpPr>
                <p:cNvPr id="343" name="Прямоугольник 342"/>
                <p:cNvSpPr/>
                <p:nvPr/>
              </p:nvSpPr>
              <p:spPr>
                <a:xfrm>
                  <a:off x="1203559" y="4417440"/>
                  <a:ext cx="4338554" cy="402320"/>
                </a:xfrm>
                <a:prstGeom prst="rect">
                  <a:avLst/>
                </a:prstGeom>
                <a:noFill/>
                <a:ln w="38100">
                  <a:noFill/>
                  <a:round/>
                </a:ln>
                <a:effectLst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</p:sp>
          </p:grpSp>
        </p:grp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C3E01B69-A10B-4A0E-B22C-9914593B373C}"/>
                </a:ext>
              </a:extLst>
            </p:cNvPr>
            <p:cNvSpPr/>
            <p:nvPr/>
          </p:nvSpPr>
          <p:spPr>
            <a:xfrm>
              <a:off x="1647431" y="4429375"/>
              <a:ext cx="3725614" cy="354965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DDD592BF-F0A7-4466-B93E-F82A16F454EE}"/>
              </a:ext>
            </a:extLst>
          </p:cNvPr>
          <p:cNvGrpSpPr/>
          <p:nvPr/>
        </p:nvGrpSpPr>
        <p:grpSpPr>
          <a:xfrm>
            <a:off x="5187624" y="900001"/>
            <a:ext cx="5449497" cy="5082748"/>
            <a:chOff x="490861" y="1806295"/>
            <a:chExt cx="11210278" cy="4176454"/>
          </a:xfrm>
          <a:solidFill>
            <a:schemeClr val="bg1"/>
          </a:solidFill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FF1C1E2E-0A37-4A78-A492-6268A0F90450}"/>
                </a:ext>
              </a:extLst>
            </p:cNvPr>
            <p:cNvSpPr/>
            <p:nvPr/>
          </p:nvSpPr>
          <p:spPr>
            <a:xfrm>
              <a:off x="490861" y="1806295"/>
              <a:ext cx="11210278" cy="4176454"/>
            </a:xfrm>
            <a:prstGeom prst="rect">
              <a:avLst/>
            </a:prstGeom>
            <a:grpFill/>
            <a:ln w="101600" cap="rnd">
              <a:solidFill>
                <a:srgbClr val="C2D0DF"/>
              </a:solidFill>
              <a:rou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700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F5A26B33-B7D5-4FA6-AB05-C1B884569BF1}"/>
                </a:ext>
              </a:extLst>
            </p:cNvPr>
            <p:cNvSpPr/>
            <p:nvPr/>
          </p:nvSpPr>
          <p:spPr>
            <a:xfrm>
              <a:off x="1597629" y="4418569"/>
              <a:ext cx="3854513" cy="357435"/>
            </a:xfrm>
            <a:prstGeom prst="rect">
              <a:avLst/>
            </a:prstGeom>
            <a:grpFill/>
            <a:ln w="38100">
              <a:noFill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344" name="PlaceHolder 41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45" name="Рисунок 344"/>
          <p:cNvPicPr/>
          <p:nvPr/>
        </p:nvPicPr>
        <p:blipFill>
          <a:blip r:embed="rId2"/>
          <a:stretch/>
        </p:blipFill>
        <p:spPr>
          <a:xfrm>
            <a:off x="5766669" y="1981393"/>
            <a:ext cx="4238983" cy="2825557"/>
          </a:xfrm>
          <a:prstGeom prst="rect">
            <a:avLst/>
          </a:prstGeom>
          <a:ln w="0">
            <a:noFill/>
          </a:ln>
        </p:spPr>
      </p:pic>
      <p:sp>
        <p:nvSpPr>
          <p:cNvPr id="346" name="Текст 13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Поэтапный план работ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347" name="Рисунок 346"/>
          <p:cNvPicPr/>
          <p:nvPr/>
        </p:nvPicPr>
        <p:blipFill>
          <a:blip r:embed="rId4"/>
          <a:srcRect b="16006"/>
          <a:stretch/>
        </p:blipFill>
        <p:spPr>
          <a:xfrm>
            <a:off x="5725642" y="997560"/>
            <a:ext cx="4394310" cy="4840338"/>
          </a:xfrm>
          <a:prstGeom prst="rect">
            <a:avLst/>
          </a:prstGeom>
          <a:ln w="0"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8A35F4-12BC-40A4-B89C-B651A0D0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План реализации</a:t>
            </a:r>
            <a:endParaRPr lang="ru-RU" dirty="0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C8F34038-37BB-4066-B457-BAC2028F8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5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41DA0CBD-77D2-4465-ACB2-481EDB76C7C6}"/>
              </a:ext>
            </a:extLst>
          </p:cNvPr>
          <p:cNvGrpSpPr/>
          <p:nvPr/>
        </p:nvGrpSpPr>
        <p:grpSpPr>
          <a:xfrm>
            <a:off x="5187624" y="900001"/>
            <a:ext cx="5449497" cy="5082748"/>
            <a:chOff x="490861" y="1806295"/>
            <a:chExt cx="11210278" cy="4176454"/>
          </a:xfrm>
          <a:solidFill>
            <a:schemeClr val="bg1"/>
          </a:solidFill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1E6CC3AB-FF87-4581-B795-E24636798A82}"/>
                </a:ext>
              </a:extLst>
            </p:cNvPr>
            <p:cNvSpPr/>
            <p:nvPr/>
          </p:nvSpPr>
          <p:spPr>
            <a:xfrm>
              <a:off x="490861" y="1806295"/>
              <a:ext cx="11210278" cy="4176454"/>
            </a:xfrm>
            <a:prstGeom prst="rect">
              <a:avLst/>
            </a:prstGeom>
            <a:grpFill/>
            <a:ln w="101600" cap="rnd">
              <a:solidFill>
                <a:srgbClr val="C2D0DF"/>
              </a:solidFill>
              <a:rou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700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629C6FA1-A5C0-4824-B59A-F8A166C64781}"/>
                </a:ext>
              </a:extLst>
            </p:cNvPr>
            <p:cNvSpPr/>
            <p:nvPr/>
          </p:nvSpPr>
          <p:spPr>
            <a:xfrm>
              <a:off x="1597629" y="4418569"/>
              <a:ext cx="3854513" cy="357435"/>
            </a:xfrm>
            <a:prstGeom prst="rect">
              <a:avLst/>
            </a:prstGeom>
            <a:grpFill/>
            <a:ln w="38100">
              <a:noFill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348" name="Текст 2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Имплементация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349" name="PlaceHolder 34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50" name="Рисунок 349"/>
          <p:cNvPicPr/>
          <p:nvPr/>
        </p:nvPicPr>
        <p:blipFill>
          <a:blip r:embed="rId3"/>
          <a:stretch/>
        </p:blipFill>
        <p:spPr>
          <a:xfrm>
            <a:off x="5959491" y="1048965"/>
            <a:ext cx="3794109" cy="914916"/>
          </a:xfrm>
          <a:prstGeom prst="rect">
            <a:avLst/>
          </a:prstGeom>
          <a:ln w="0">
            <a:noFill/>
          </a:ln>
        </p:spPr>
      </p:pic>
      <p:pic>
        <p:nvPicPr>
          <p:cNvPr id="351" name="Рисунок 350"/>
          <p:cNvPicPr/>
          <p:nvPr/>
        </p:nvPicPr>
        <p:blipFill>
          <a:blip r:embed="rId4"/>
          <a:stretch/>
        </p:blipFill>
        <p:spPr>
          <a:xfrm>
            <a:off x="5974252" y="2114819"/>
            <a:ext cx="3755696" cy="3716992"/>
          </a:xfrm>
          <a:prstGeom prst="rect">
            <a:avLst/>
          </a:prstGeom>
          <a:ln w="0">
            <a:noFill/>
          </a:ln>
        </p:spPr>
      </p:pic>
      <p:pic>
        <p:nvPicPr>
          <p:cNvPr id="352" name="Рисунок 351"/>
          <p:cNvPicPr/>
          <p:nvPr/>
        </p:nvPicPr>
        <p:blipFill>
          <a:blip r:embed="rId5"/>
          <a:srcRect t="7203" b="4296"/>
          <a:stretch/>
        </p:blipFill>
        <p:spPr>
          <a:xfrm>
            <a:off x="5990091" y="2080302"/>
            <a:ext cx="3740273" cy="3745802"/>
          </a:xfrm>
          <a:prstGeom prst="rect">
            <a:avLst/>
          </a:prstGeom>
          <a:ln w="0"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1C70A-3313-4413-9283-798090A38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C74BB1ED-7FB2-4850-9E66-7A3D8FB29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6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B62D3E7-EDB6-441E-BB16-B9D89CEC527D}"/>
              </a:ext>
            </a:extLst>
          </p:cNvPr>
          <p:cNvGrpSpPr/>
          <p:nvPr/>
        </p:nvGrpSpPr>
        <p:grpSpPr>
          <a:xfrm>
            <a:off x="5187624" y="900001"/>
            <a:ext cx="5449497" cy="5082748"/>
            <a:chOff x="490861" y="1806295"/>
            <a:chExt cx="11210278" cy="4176454"/>
          </a:xfrm>
          <a:solidFill>
            <a:schemeClr val="bg1"/>
          </a:solidFill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962D5240-C3C3-4831-9937-93408CE73729}"/>
                </a:ext>
              </a:extLst>
            </p:cNvPr>
            <p:cNvSpPr/>
            <p:nvPr/>
          </p:nvSpPr>
          <p:spPr>
            <a:xfrm>
              <a:off x="490861" y="1806295"/>
              <a:ext cx="11210278" cy="4176454"/>
            </a:xfrm>
            <a:prstGeom prst="rect">
              <a:avLst/>
            </a:prstGeom>
            <a:grpFill/>
            <a:ln w="101600" cap="rnd">
              <a:solidFill>
                <a:srgbClr val="C2D0DF"/>
              </a:solidFill>
              <a:rou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700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C4CBF8E2-12C4-4865-A406-1B00AB102FF1}"/>
                </a:ext>
              </a:extLst>
            </p:cNvPr>
            <p:cNvSpPr/>
            <p:nvPr/>
          </p:nvSpPr>
          <p:spPr>
            <a:xfrm>
              <a:off x="1597629" y="4418569"/>
              <a:ext cx="3854513" cy="357435"/>
            </a:xfrm>
            <a:prstGeom prst="rect">
              <a:avLst/>
            </a:prstGeom>
            <a:grpFill/>
            <a:ln w="38100">
              <a:noFill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353" name="Текст 17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Имплементация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354" name="PlaceHolder 45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55" name="Рисунок 354"/>
          <p:cNvPicPr/>
          <p:nvPr/>
        </p:nvPicPr>
        <p:blipFill rotWithShape="1">
          <a:blip r:embed="rId3"/>
          <a:srcRect r="3024"/>
          <a:stretch/>
        </p:blipFill>
        <p:spPr>
          <a:xfrm>
            <a:off x="5555181" y="1110915"/>
            <a:ext cx="4573069" cy="4660920"/>
          </a:xfrm>
          <a:prstGeom prst="rect">
            <a:avLst/>
          </a:prstGeom>
          <a:ln w="0"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6D74C2-4BC8-4D26-8108-721A493F0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AE9F8DF0-B774-4EBC-963D-74FC2D988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7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Текст 18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Имплементация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357" name="PlaceHolder 46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FFE0180-D34A-463B-8814-6C143025CAAD}"/>
              </a:ext>
            </a:extLst>
          </p:cNvPr>
          <p:cNvGrpSpPr/>
          <p:nvPr/>
        </p:nvGrpSpPr>
        <p:grpSpPr>
          <a:xfrm>
            <a:off x="7448764" y="1458719"/>
            <a:ext cx="4217057" cy="4524029"/>
            <a:chOff x="7448764" y="1458719"/>
            <a:chExt cx="4217057" cy="4524029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11728B2C-6C4A-414E-B67C-3CF4FB6918C0}"/>
                </a:ext>
              </a:extLst>
            </p:cNvPr>
            <p:cNvSpPr/>
            <p:nvPr/>
          </p:nvSpPr>
          <p:spPr>
            <a:xfrm>
              <a:off x="7448764" y="1458719"/>
              <a:ext cx="4217057" cy="4524029"/>
            </a:xfrm>
            <a:prstGeom prst="rect">
              <a:avLst/>
            </a:prstGeom>
            <a:solidFill>
              <a:schemeClr val="bg1"/>
            </a:solidFill>
            <a:ln w="101600" cap="rnd">
              <a:solidFill>
                <a:srgbClr val="C2D0DF"/>
              </a:solidFill>
              <a:rou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700"/>
            </a:p>
          </p:txBody>
        </p:sp>
        <p:pic>
          <p:nvPicPr>
            <p:cNvPr id="358" name="Рисунок 357"/>
            <p:cNvPicPr/>
            <p:nvPr/>
          </p:nvPicPr>
          <p:blipFill>
            <a:blip r:embed="rId3"/>
            <a:srcRect r="14505"/>
            <a:stretch/>
          </p:blipFill>
          <p:spPr>
            <a:xfrm>
              <a:off x="7698045" y="1630170"/>
              <a:ext cx="3716064" cy="3945130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233295-3330-4A8C-B581-6C1D4583E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CC55FDE9-376E-4C41-ABF3-61B85D3DE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8</a:t>
            </a:fld>
            <a:endParaRPr lang="ru-RU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CF3A79D1-2BC4-40CE-8436-A7C126241737}"/>
              </a:ext>
            </a:extLst>
          </p:cNvPr>
          <p:cNvGrpSpPr/>
          <p:nvPr/>
        </p:nvGrpSpPr>
        <p:grpSpPr>
          <a:xfrm>
            <a:off x="2916148" y="1463372"/>
            <a:ext cx="4217057" cy="4524029"/>
            <a:chOff x="2916148" y="1463372"/>
            <a:chExt cx="4217057" cy="4524029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AA0556AC-8DF4-468F-BE55-B696380F386F}"/>
                </a:ext>
              </a:extLst>
            </p:cNvPr>
            <p:cNvSpPr/>
            <p:nvPr/>
          </p:nvSpPr>
          <p:spPr>
            <a:xfrm>
              <a:off x="2916148" y="1463372"/>
              <a:ext cx="4217057" cy="4524029"/>
            </a:xfrm>
            <a:prstGeom prst="rect">
              <a:avLst/>
            </a:prstGeom>
            <a:solidFill>
              <a:schemeClr val="bg1"/>
            </a:solidFill>
            <a:ln w="101600" cap="rnd">
              <a:solidFill>
                <a:srgbClr val="C2D0DF"/>
              </a:solidFill>
              <a:rou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700"/>
            </a:p>
          </p:txBody>
        </p:sp>
        <p:pic>
          <p:nvPicPr>
            <p:cNvPr id="359" name="Рисунок 358"/>
            <p:cNvPicPr/>
            <p:nvPr/>
          </p:nvPicPr>
          <p:blipFill>
            <a:blip r:embed="rId4"/>
            <a:stretch/>
          </p:blipFill>
          <p:spPr>
            <a:xfrm>
              <a:off x="3035321" y="1630170"/>
              <a:ext cx="3991447" cy="3945130"/>
            </a:xfrm>
            <a:prstGeom prst="rect">
              <a:avLst/>
            </a:prstGeom>
            <a:ln w="0">
              <a:noFill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Текст 19"/>
          <p:cNvSpPr/>
          <p:nvPr/>
        </p:nvSpPr>
        <p:spPr>
          <a:xfrm>
            <a:off x="479520" y="1080"/>
            <a:ext cx="5145840" cy="6855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Имплементация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361" name="PlaceHolder 47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62" name="Рисунок 361"/>
          <p:cNvPicPr/>
          <p:nvPr/>
        </p:nvPicPr>
        <p:blipFill>
          <a:blip r:embed="rId3"/>
          <a:stretch/>
        </p:blipFill>
        <p:spPr>
          <a:xfrm>
            <a:off x="5015387" y="1100385"/>
            <a:ext cx="5145840" cy="4849505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0A86BF-FFD0-4547-8A51-836A3E2E3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ADDE6A92-5C07-4FB2-900E-73AD3BA92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29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88B4AC1-0357-44DA-A1B5-815703A51D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</a:t>
            </a:fld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0CC404D-F755-4EC9-810F-402205B03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04794"/>
            <a:ext cx="5148263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</a:rPr>
              <a:t>Дисклеймер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4A1AC89-660C-4F3C-934E-0ABE1BD1DF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310640"/>
            <a:ext cx="5383213" cy="5043201"/>
          </a:xfrm>
        </p:spPr>
        <p:txBody>
          <a:bodyPr/>
          <a:lstStyle/>
          <a:p>
            <a:pPr lvl="1">
              <a:buSzPct val="100017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/>
              <a:t>Только мой опыт</a:t>
            </a:r>
          </a:p>
          <a:p>
            <a:pPr lvl="1">
              <a:buSzPct val="100017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/>
              <a:t>Никаких исследований и сравнений</a:t>
            </a:r>
          </a:p>
          <a:p>
            <a:pPr lvl="1">
              <a:buSzPct val="100017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/>
              <a:t>Только то, что применяю в своей работе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B2079FA-285B-43F9-A72C-9EED944E06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941DFE-8D89-409E-82D5-1E52D1B704BA}"/>
              </a:ext>
            </a:extLst>
          </p:cNvPr>
          <p:cNvPicPr/>
          <p:nvPr/>
        </p:nvPicPr>
        <p:blipFill rotWithShape="1">
          <a:blip r:embed="rId3"/>
          <a:srcRect l="16265" t="5573"/>
          <a:stretch/>
        </p:blipFill>
        <p:spPr>
          <a:xfrm>
            <a:off x="6096000" y="-14442"/>
            <a:ext cx="6087480" cy="6865948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349078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3" name="Рисунок 362"/>
          <p:cNvPicPr/>
          <p:nvPr/>
        </p:nvPicPr>
        <p:blipFill>
          <a:blip r:embed="rId2"/>
          <a:stretch/>
        </p:blipFill>
        <p:spPr>
          <a:xfrm>
            <a:off x="6198236" y="755650"/>
            <a:ext cx="2920923" cy="511175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364" name="Текст 4"/>
          <p:cNvSpPr/>
          <p:nvPr/>
        </p:nvSpPr>
        <p:spPr>
          <a:xfrm>
            <a:off x="479520" y="3149600"/>
            <a:ext cx="5145840" cy="2788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оздание проекта в 1C: ED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ирование с помощью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65" name="Прямоугольник 364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66" name="PlaceHolder 35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642B03-276D-4F5E-8EC6-5A938C564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2AD636E-1CF0-4B68-8668-C2C58EA6C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0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7" name="Рисунок 366"/>
          <p:cNvPicPr/>
          <p:nvPr/>
        </p:nvPicPr>
        <p:blipFill>
          <a:blip r:embed="rId2"/>
          <a:stretch/>
        </p:blipFill>
        <p:spPr>
          <a:xfrm>
            <a:off x="4893950" y="2434740"/>
            <a:ext cx="6711840" cy="253116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368" name="Текст 5"/>
          <p:cNvSpPr/>
          <p:nvPr/>
        </p:nvSpPr>
        <p:spPr>
          <a:xfrm>
            <a:off x="479520" y="2742000"/>
            <a:ext cx="5145840" cy="3958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оздание проекта в 1C: ED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ирование с помощью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правка по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69" name="Прямоугольник 368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70" name="PlaceHolder 36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F2445-728B-41F7-9EDC-FA973DBC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A09136F4-A204-4250-9CC8-DE5B396DB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1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Текст 8"/>
          <p:cNvSpPr/>
          <p:nvPr/>
        </p:nvSpPr>
        <p:spPr>
          <a:xfrm>
            <a:off x="479520" y="2594590"/>
            <a:ext cx="5145840" cy="3958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оздание проекта в 1C: ED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ирование с помощью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правка по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MCP для сборки и тестирования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72" name="Прямоугольник 371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73" name="PlaceHolder 37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74" name="Рисунок 373"/>
          <p:cNvPicPr/>
          <p:nvPr/>
        </p:nvPicPr>
        <p:blipFill>
          <a:blip r:embed="rId3"/>
          <a:stretch/>
        </p:blipFill>
        <p:spPr>
          <a:xfrm>
            <a:off x="5454940" y="3045240"/>
            <a:ext cx="6132600" cy="107532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112F92-F93E-4C29-9D72-9CC1F4BB0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2D059549-C32F-4C3E-8A5D-247FEACAA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2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Текст 10"/>
          <p:cNvSpPr/>
          <p:nvPr/>
        </p:nvSpPr>
        <p:spPr>
          <a:xfrm>
            <a:off x="479520" y="2946400"/>
            <a:ext cx="5145840" cy="2991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борка проекта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76" name="Прямоугольник 375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77" name="PlaceHolder 38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78" name="Рисунок 377"/>
          <p:cNvPicPr/>
          <p:nvPr/>
        </p:nvPicPr>
        <p:blipFill>
          <a:blip r:embed="rId3"/>
          <a:srcRect b="80517"/>
          <a:stretch/>
        </p:blipFill>
        <p:spPr>
          <a:xfrm>
            <a:off x="4972051" y="355600"/>
            <a:ext cx="4412126" cy="1080485"/>
          </a:xfrm>
          <a:prstGeom prst="rect">
            <a:avLst/>
          </a:prstGeom>
          <a:solidFill>
            <a:srgbClr val="F3F3F3"/>
          </a:solidFill>
          <a:ln w="76200" cap="rnd">
            <a:solidFill>
              <a:srgbClr val="C2D0DF"/>
            </a:solidFill>
            <a:round/>
          </a:ln>
        </p:spPr>
      </p:pic>
      <p:pic>
        <p:nvPicPr>
          <p:cNvPr id="379" name="Рисунок 378"/>
          <p:cNvPicPr/>
          <p:nvPr/>
        </p:nvPicPr>
        <p:blipFill>
          <a:blip r:embed="rId4"/>
          <a:stretch/>
        </p:blipFill>
        <p:spPr>
          <a:xfrm>
            <a:off x="4972051" y="1604615"/>
            <a:ext cx="4412126" cy="410128"/>
          </a:xfrm>
          <a:prstGeom prst="rect">
            <a:avLst/>
          </a:prstGeom>
          <a:solidFill>
            <a:srgbClr val="F3F3F3"/>
          </a:solidFill>
          <a:ln w="76200" cap="rnd">
            <a:solidFill>
              <a:srgbClr val="C2D0DF"/>
            </a:solidFill>
            <a:round/>
          </a:ln>
        </p:spPr>
      </p:pic>
      <p:pic>
        <p:nvPicPr>
          <p:cNvPr id="380" name="Рисунок 379"/>
          <p:cNvPicPr/>
          <p:nvPr/>
        </p:nvPicPr>
        <p:blipFill>
          <a:blip r:embed="rId5"/>
          <a:srcRect t="14498"/>
          <a:stretch/>
        </p:blipFill>
        <p:spPr>
          <a:xfrm>
            <a:off x="4972051" y="2180863"/>
            <a:ext cx="4412126" cy="2406949"/>
          </a:xfrm>
          <a:prstGeom prst="rect">
            <a:avLst/>
          </a:prstGeom>
          <a:solidFill>
            <a:srgbClr val="F3F3F3"/>
          </a:solidFill>
          <a:ln w="76200" cap="rnd">
            <a:solidFill>
              <a:srgbClr val="C2D0DF"/>
            </a:solidFill>
            <a:round/>
          </a:ln>
        </p:spPr>
      </p:pic>
      <p:pic>
        <p:nvPicPr>
          <p:cNvPr id="381" name="Рисунок 380"/>
          <p:cNvPicPr/>
          <p:nvPr/>
        </p:nvPicPr>
        <p:blipFill>
          <a:blip r:embed="rId6"/>
          <a:stretch/>
        </p:blipFill>
        <p:spPr>
          <a:xfrm>
            <a:off x="4972052" y="4758517"/>
            <a:ext cx="4412126" cy="1295741"/>
          </a:xfrm>
          <a:prstGeom prst="rect">
            <a:avLst/>
          </a:prstGeom>
          <a:solidFill>
            <a:srgbClr val="F3F3F3"/>
          </a:solidFill>
          <a:ln w="762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DCCE08-C556-42F9-8057-6CA6F174B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75367E3D-E6B5-441B-9A0A-6F82AD860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3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Текст 26"/>
          <p:cNvSpPr/>
          <p:nvPr/>
        </p:nvSpPr>
        <p:spPr>
          <a:xfrm>
            <a:off x="479520" y="3045240"/>
            <a:ext cx="5145840" cy="143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Отсутствие примеров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83" name="Прямоугольник 382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4" name="PlaceHolder 53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6BDF0B6-97FE-4FE1-A27A-8C9588CADF32}"/>
              </a:ext>
            </a:extLst>
          </p:cNvPr>
          <p:cNvGrpSpPr/>
          <p:nvPr/>
        </p:nvGrpSpPr>
        <p:grpSpPr>
          <a:xfrm>
            <a:off x="4558238" y="1105710"/>
            <a:ext cx="6254812" cy="4666021"/>
            <a:chOff x="6300000" y="648929"/>
            <a:chExt cx="5027400" cy="3750385"/>
          </a:xfrm>
        </p:grpSpPr>
        <p:pic>
          <p:nvPicPr>
            <p:cNvPr id="385" name="Рисунок 384"/>
            <p:cNvPicPr/>
            <p:nvPr/>
          </p:nvPicPr>
          <p:blipFill>
            <a:blip r:embed="rId3"/>
            <a:stretch/>
          </p:blipFill>
          <p:spPr>
            <a:xfrm>
              <a:off x="6300000" y="648929"/>
              <a:ext cx="5027400" cy="1074960"/>
            </a:xfrm>
            <a:prstGeom prst="rect">
              <a:avLst/>
            </a:prstGeom>
            <a:solidFill>
              <a:srgbClr val="F3F3F3"/>
            </a:solidFill>
            <a:ln w="101600" cap="rnd">
              <a:solidFill>
                <a:srgbClr val="C2D0DF"/>
              </a:solidFill>
              <a:round/>
            </a:ln>
          </p:spPr>
        </p:pic>
        <p:pic>
          <p:nvPicPr>
            <p:cNvPr id="386" name="Рисунок 385"/>
            <p:cNvPicPr/>
            <p:nvPr/>
          </p:nvPicPr>
          <p:blipFill>
            <a:blip r:embed="rId4"/>
            <a:stretch/>
          </p:blipFill>
          <p:spPr>
            <a:xfrm>
              <a:off x="6300000" y="2095674"/>
              <a:ext cx="4989240" cy="2303640"/>
            </a:xfrm>
            <a:prstGeom prst="rect">
              <a:avLst/>
            </a:prstGeom>
            <a:solidFill>
              <a:srgbClr val="F3F3F3"/>
            </a:solidFill>
            <a:ln w="101600" cap="rnd">
              <a:solidFill>
                <a:srgbClr val="C2D0DF"/>
              </a:solidFill>
              <a:round/>
            </a:ln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AECF19-E86C-4915-8B2A-EB06FCBB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latin typeface="Arial"/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9EF1053B-85C4-4B8D-93AE-72B5A5323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4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Текст 6"/>
          <p:cNvSpPr/>
          <p:nvPr/>
        </p:nvSpPr>
        <p:spPr>
          <a:xfrm>
            <a:off x="479520" y="2954397"/>
            <a:ext cx="5145840" cy="143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Переполнение контекста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88" name="Прямоугольник 387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9" name="PlaceHolder 5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E207E73-0CB2-40C8-AB47-5CF650758F97}"/>
              </a:ext>
            </a:extLst>
          </p:cNvPr>
          <p:cNvGrpSpPr/>
          <p:nvPr/>
        </p:nvGrpSpPr>
        <p:grpSpPr>
          <a:xfrm>
            <a:off x="5706360" y="367159"/>
            <a:ext cx="4218089" cy="5742682"/>
            <a:chOff x="5319611" y="469187"/>
            <a:chExt cx="5061190" cy="6890515"/>
          </a:xfrm>
        </p:grpSpPr>
        <p:pic>
          <p:nvPicPr>
            <p:cNvPr id="390" name="Рисунок 389"/>
            <p:cNvPicPr/>
            <p:nvPr/>
          </p:nvPicPr>
          <p:blipFill>
            <a:blip r:embed="rId3"/>
            <a:stretch/>
          </p:blipFill>
          <p:spPr>
            <a:xfrm>
              <a:off x="5319611" y="469187"/>
              <a:ext cx="5061190" cy="523273"/>
            </a:xfrm>
            <a:prstGeom prst="rect">
              <a:avLst/>
            </a:prstGeom>
            <a:solidFill>
              <a:srgbClr val="F3F3F3"/>
            </a:solidFill>
            <a:ln w="76200" cap="rnd">
              <a:solidFill>
                <a:srgbClr val="C2D0DF"/>
              </a:solidFill>
              <a:round/>
            </a:ln>
          </p:spPr>
        </p:pic>
        <p:pic>
          <p:nvPicPr>
            <p:cNvPr id="391" name="Рисунок 390"/>
            <p:cNvPicPr/>
            <p:nvPr/>
          </p:nvPicPr>
          <p:blipFill>
            <a:blip r:embed="rId4"/>
            <a:stretch/>
          </p:blipFill>
          <p:spPr>
            <a:xfrm>
              <a:off x="5319611" y="1242989"/>
              <a:ext cx="5061190" cy="1448011"/>
            </a:xfrm>
            <a:prstGeom prst="rect">
              <a:avLst/>
            </a:prstGeom>
            <a:solidFill>
              <a:srgbClr val="F3F3F3"/>
            </a:solidFill>
            <a:ln w="76200" cap="rnd">
              <a:solidFill>
                <a:srgbClr val="C2D0DF"/>
              </a:solidFill>
              <a:round/>
            </a:ln>
          </p:spPr>
        </p:pic>
        <p:pic>
          <p:nvPicPr>
            <p:cNvPr id="392" name="Рисунок 391"/>
            <p:cNvPicPr/>
            <p:nvPr/>
          </p:nvPicPr>
          <p:blipFill>
            <a:blip r:embed="rId5"/>
            <a:srcRect b="20005"/>
            <a:stretch/>
          </p:blipFill>
          <p:spPr>
            <a:xfrm>
              <a:off x="5319611" y="2924876"/>
              <a:ext cx="5036760" cy="2375640"/>
            </a:xfrm>
            <a:prstGeom prst="rect">
              <a:avLst/>
            </a:prstGeom>
            <a:solidFill>
              <a:srgbClr val="F3F3F3"/>
            </a:solidFill>
            <a:ln w="76200" cap="rnd">
              <a:solidFill>
                <a:srgbClr val="C2D0DF"/>
              </a:solidFill>
              <a:round/>
            </a:ln>
          </p:spPr>
        </p:pic>
        <p:pic>
          <p:nvPicPr>
            <p:cNvPr id="393" name="Рисунок 392"/>
            <p:cNvPicPr/>
            <p:nvPr/>
          </p:nvPicPr>
          <p:blipFill>
            <a:blip r:embed="rId6"/>
            <a:stretch/>
          </p:blipFill>
          <p:spPr>
            <a:xfrm>
              <a:off x="5335451" y="5534392"/>
              <a:ext cx="5020920" cy="824720"/>
            </a:xfrm>
            <a:prstGeom prst="rect">
              <a:avLst/>
            </a:prstGeom>
            <a:solidFill>
              <a:srgbClr val="F3F3F3"/>
            </a:solidFill>
            <a:ln w="76200" cap="rnd">
              <a:solidFill>
                <a:srgbClr val="C2D0DF"/>
              </a:solidFill>
              <a:round/>
            </a:ln>
          </p:spPr>
        </p:pic>
        <p:pic>
          <p:nvPicPr>
            <p:cNvPr id="394" name="Рисунок 393"/>
            <p:cNvPicPr/>
            <p:nvPr/>
          </p:nvPicPr>
          <p:blipFill>
            <a:blip r:embed="rId7"/>
            <a:stretch/>
          </p:blipFill>
          <p:spPr>
            <a:xfrm>
              <a:off x="5335451" y="6586831"/>
              <a:ext cx="5020920" cy="772871"/>
            </a:xfrm>
            <a:prstGeom prst="rect">
              <a:avLst/>
            </a:prstGeom>
            <a:solidFill>
              <a:srgbClr val="F3F3F3"/>
            </a:solidFill>
            <a:ln w="76200" cap="rnd">
              <a:solidFill>
                <a:srgbClr val="C2D0DF"/>
              </a:solidFill>
              <a:round/>
            </a:ln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3934B5-53AA-4255-9BCC-2357C049A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latin typeface="Arial"/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526F00C7-C93B-4BB3-A25A-9A98E0445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5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Текст 7"/>
          <p:cNvSpPr/>
          <p:nvPr/>
        </p:nvSpPr>
        <p:spPr>
          <a:xfrm>
            <a:off x="479520" y="3045240"/>
            <a:ext cx="5145840" cy="143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Проблема с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uuid</a:t>
            </a: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	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396" name="Прямоугольник 395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97" name="PlaceHolder 6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398" name="Рисунок 397"/>
          <p:cNvPicPr/>
          <p:nvPr/>
        </p:nvPicPr>
        <p:blipFill>
          <a:blip r:embed="rId3"/>
          <a:stretch/>
        </p:blipFill>
        <p:spPr>
          <a:xfrm>
            <a:off x="4208849" y="1186408"/>
            <a:ext cx="6450729" cy="4655591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43FF5A-049E-4130-A73F-12EC554A4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latin typeface="Arial"/>
                <a:ea typeface="Roboto" panose="02000000000000000000" pitchFamily="2" charset="0"/>
              </a:rPr>
              <a:t>Реализация</a:t>
            </a:r>
            <a:endParaRPr lang="ru-RU" dirty="0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2BE2B610-6F36-4DA3-B316-BE9F387EB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6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Текст 20"/>
          <p:cNvSpPr/>
          <p:nvPr/>
        </p:nvSpPr>
        <p:spPr>
          <a:xfrm>
            <a:off x="479520" y="2899800"/>
            <a:ext cx="5145840" cy="3958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ы с помощью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ирование с помощью MCP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400" name="Прямоугольник 399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1" name="PlaceHolder 48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402" name="Рисунок 401"/>
          <p:cNvPicPr/>
          <p:nvPr/>
        </p:nvPicPr>
        <p:blipFill>
          <a:blip r:embed="rId3"/>
          <a:stretch/>
        </p:blipFill>
        <p:spPr>
          <a:xfrm>
            <a:off x="5245017" y="2762020"/>
            <a:ext cx="5841720" cy="133396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E6E013-DAAD-4982-9718-7FAFECBC6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Тестирование</a:t>
            </a:r>
            <a:endParaRPr lang="ru-RU" dirty="0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F8ADAEDE-4075-425C-A9A3-D44A588FB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7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Текст 21"/>
          <p:cNvSpPr/>
          <p:nvPr/>
        </p:nvSpPr>
        <p:spPr>
          <a:xfrm>
            <a:off x="479520" y="1738700"/>
            <a:ext cx="5145840" cy="3958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ы с помощью </a:t>
            </a:r>
            <a:r>
              <a:rPr lang="ru-RU" sz="1800" b="0" strike="noStrike" spc="-1" dirty="0" err="1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YaxUnit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Тестирование с помощью MCP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404" name="Прямоугольник 403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5" name="PlaceHolder 49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406" name="Рисунок 405"/>
          <p:cNvPicPr/>
          <p:nvPr/>
        </p:nvPicPr>
        <p:blipFill>
          <a:blip r:embed="rId3"/>
          <a:stretch/>
        </p:blipFill>
        <p:spPr>
          <a:xfrm>
            <a:off x="612998" y="2783724"/>
            <a:ext cx="5671130" cy="3169482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pic>
        <p:nvPicPr>
          <p:cNvPr id="407" name="Рисунок 406"/>
          <p:cNvPicPr/>
          <p:nvPr/>
        </p:nvPicPr>
        <p:blipFill>
          <a:blip r:embed="rId4"/>
          <a:stretch/>
        </p:blipFill>
        <p:spPr>
          <a:xfrm>
            <a:off x="6631746" y="1934146"/>
            <a:ext cx="4871223" cy="401906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434DBA-CB6A-4486-A00F-A8B74DE61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Тестирование</a:t>
            </a:r>
            <a:endParaRPr lang="ru-RU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D86A121-68D0-413D-8C5C-255A02613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8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8" name="Рисунок 407"/>
          <p:cNvPicPr/>
          <p:nvPr/>
        </p:nvPicPr>
        <p:blipFill>
          <a:blip r:embed="rId2"/>
          <a:stretch/>
        </p:blipFill>
        <p:spPr>
          <a:xfrm>
            <a:off x="3849750" y="3356550"/>
            <a:ext cx="4430650" cy="2386002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pic>
        <p:nvPicPr>
          <p:cNvPr id="409" name="Рисунок 408"/>
          <p:cNvPicPr/>
          <p:nvPr/>
        </p:nvPicPr>
        <p:blipFill>
          <a:blip r:embed="rId3"/>
          <a:srcRect t="23652" b="23448"/>
          <a:stretch/>
        </p:blipFill>
        <p:spPr>
          <a:xfrm>
            <a:off x="2968110" y="332550"/>
            <a:ext cx="6009645" cy="2775939"/>
          </a:xfrm>
          <a:prstGeom prst="rect">
            <a:avLst/>
          </a:prstGeom>
          <a:ln w="0">
            <a:noFill/>
          </a:ln>
        </p:spPr>
      </p:pic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290324AF-D43C-4530-9681-431FC10DE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39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88B4AC1-0357-44DA-A1B5-815703A51D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4</a:t>
            </a:fld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0CC404D-F755-4EC9-810F-402205B03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04794"/>
            <a:ext cx="5148263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</a:rPr>
              <a:t>Задач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4A1AC89-660C-4F3C-934E-0ABE1BD1DF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310640"/>
            <a:ext cx="5383213" cy="5043201"/>
          </a:xfrm>
        </p:spPr>
        <p:txBody>
          <a:bodyPr/>
          <a:lstStyle/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Конфигурация: Парк аттракционов</a:t>
            </a:r>
            <a:endParaRPr lang="ru-RU" sz="1800" spc="-1" dirty="0">
              <a:latin typeface="Arial"/>
            </a:endParaRPr>
          </a:p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Онлайн продажа билетов</a:t>
            </a:r>
            <a:endParaRPr lang="ru-RU" sz="1800" spc="-1" dirty="0">
              <a:latin typeface="Arial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B2079FA-285B-43F9-A72C-9EED944E06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17540E9-F2C6-4787-84CE-46ED1145262E}"/>
              </a:ext>
            </a:extLst>
          </p:cNvPr>
          <p:cNvPicPr/>
          <p:nvPr/>
        </p:nvPicPr>
        <p:blipFill rotWithShape="1">
          <a:blip r:embed="rId3"/>
          <a:srcRect l="6656" r="4247"/>
          <a:stretch/>
        </p:blipFill>
        <p:spPr>
          <a:xfrm>
            <a:off x="6084000" y="360"/>
            <a:ext cx="6108000" cy="685548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129997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Текст 29"/>
          <p:cNvSpPr/>
          <p:nvPr/>
        </p:nvSpPr>
        <p:spPr>
          <a:xfrm>
            <a:off x="479520" y="3045044"/>
            <a:ext cx="5145840" cy="143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Запусти тесты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411" name="Прямоугольник 410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12" name="PlaceHolder 56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413" name="Рисунок 412"/>
          <p:cNvPicPr/>
          <p:nvPr/>
        </p:nvPicPr>
        <p:blipFill>
          <a:blip r:embed="rId3"/>
          <a:srcRect t="54671"/>
          <a:stretch/>
        </p:blipFill>
        <p:spPr>
          <a:xfrm>
            <a:off x="5190850" y="1256121"/>
            <a:ext cx="6411494" cy="1183054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pic>
        <p:nvPicPr>
          <p:cNvPr id="414" name="Рисунок 413"/>
          <p:cNvPicPr/>
          <p:nvPr/>
        </p:nvPicPr>
        <p:blipFill>
          <a:blip r:embed="rId4"/>
          <a:stretch/>
        </p:blipFill>
        <p:spPr>
          <a:xfrm>
            <a:off x="5190849" y="2718789"/>
            <a:ext cx="6411496" cy="1117461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pic>
        <p:nvPicPr>
          <p:cNvPr id="415" name="Рисунок 414"/>
          <p:cNvPicPr/>
          <p:nvPr/>
        </p:nvPicPr>
        <p:blipFill>
          <a:blip r:embed="rId5"/>
          <a:srcRect r="2011"/>
          <a:stretch/>
        </p:blipFill>
        <p:spPr>
          <a:xfrm>
            <a:off x="5190848" y="4113155"/>
            <a:ext cx="6411495" cy="1683083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7D2198-237C-4DE6-9102-76D3A6AF8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Тестирование</a:t>
            </a:r>
            <a:endParaRPr lang="ru-RU" dirty="0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4C90216-0F27-494B-B53A-96CFB4BDF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40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Прямоугольник 416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18" name="PlaceHolder 57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419" name="Рисунок 418"/>
          <p:cNvPicPr/>
          <p:nvPr/>
        </p:nvPicPr>
        <p:blipFill>
          <a:blip r:embed="rId2"/>
          <a:stretch/>
        </p:blipFill>
        <p:spPr>
          <a:xfrm>
            <a:off x="5163551" y="790350"/>
            <a:ext cx="4884952" cy="284820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pic>
        <p:nvPicPr>
          <p:cNvPr id="420" name="Рисунок 419"/>
          <p:cNvPicPr/>
          <p:nvPr/>
        </p:nvPicPr>
        <p:blipFill>
          <a:blip r:embed="rId3"/>
          <a:stretch/>
        </p:blipFill>
        <p:spPr>
          <a:xfrm>
            <a:off x="5163550" y="3903241"/>
            <a:ext cx="4884480" cy="901168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pic>
        <p:nvPicPr>
          <p:cNvPr id="421" name="Рисунок 420"/>
          <p:cNvPicPr/>
          <p:nvPr/>
        </p:nvPicPr>
        <p:blipFill>
          <a:blip r:embed="rId4"/>
          <a:stretch/>
        </p:blipFill>
        <p:spPr>
          <a:xfrm>
            <a:off x="5163550" y="5069100"/>
            <a:ext cx="4884480" cy="694080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114E1A-89B8-4E83-B4CD-BE7CD42E7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Тестирование</a:t>
            </a:r>
            <a:endParaRPr lang="ru-RU" dirty="0"/>
          </a:p>
        </p:txBody>
      </p:sp>
      <p:sp>
        <p:nvSpPr>
          <p:cNvPr id="13" name="Текст 29">
            <a:extLst>
              <a:ext uri="{FF2B5EF4-FFF2-40B4-BE49-F238E27FC236}">
                <a16:creationId xmlns:a16="http://schemas.microsoft.com/office/drawing/2014/main" id="{286BC8D6-BB92-47EA-A040-46FDA0E13DC0}"/>
              </a:ext>
            </a:extLst>
          </p:cNvPr>
          <p:cNvSpPr/>
          <p:nvPr/>
        </p:nvSpPr>
        <p:spPr>
          <a:xfrm>
            <a:off x="479520" y="3045044"/>
            <a:ext cx="5145840" cy="143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5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Запусти тесты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CAB6C1B4-2CCC-491A-8833-F9E315286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41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Прямоугольник 422"/>
          <p:cNvSpPr/>
          <p:nvPr/>
        </p:nvSpPr>
        <p:spPr>
          <a:xfrm>
            <a:off x="219600" y="2691000"/>
            <a:ext cx="178920" cy="354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24" name="PlaceHolder 58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425" name="Рисунок 424"/>
          <p:cNvPicPr/>
          <p:nvPr/>
        </p:nvPicPr>
        <p:blipFill>
          <a:blip r:embed="rId3"/>
          <a:stretch/>
        </p:blipFill>
        <p:spPr>
          <a:xfrm>
            <a:off x="5514850" y="630850"/>
            <a:ext cx="3946650" cy="5456283"/>
          </a:xfrm>
          <a:prstGeom prst="rect">
            <a:avLst/>
          </a:prstGeom>
          <a:solidFill>
            <a:srgbClr val="F3F3F3"/>
          </a:solidFill>
          <a:ln w="101600" cap="rnd">
            <a:solidFill>
              <a:srgbClr val="C2D0DF"/>
            </a:solidFill>
            <a:round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39324F-9FD1-430A-8CF1-175EB21FC2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Тестирование</a:t>
            </a:r>
            <a:endParaRPr lang="ru-RU" dirty="0"/>
          </a:p>
        </p:txBody>
      </p:sp>
      <p:sp>
        <p:nvSpPr>
          <p:cNvPr id="9" name="Текст 29">
            <a:extLst>
              <a:ext uri="{FF2B5EF4-FFF2-40B4-BE49-F238E27FC236}">
                <a16:creationId xmlns:a16="http://schemas.microsoft.com/office/drawing/2014/main" id="{DB23A8D3-3483-49F1-9D50-BB6D99C78B2E}"/>
              </a:ext>
            </a:extLst>
          </p:cNvPr>
          <p:cNvSpPr/>
          <p:nvPr/>
        </p:nvSpPr>
        <p:spPr>
          <a:xfrm>
            <a:off x="479520" y="3045044"/>
            <a:ext cx="5145840" cy="143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Запусти тесты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9C5383C7-82BE-4AB5-A8E0-33F06C6F0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42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6" name="Рисунок 425"/>
          <p:cNvPicPr/>
          <p:nvPr/>
        </p:nvPicPr>
        <p:blipFill>
          <a:blip r:embed="rId3"/>
          <a:srcRect l="10995"/>
          <a:stretch/>
        </p:blipFill>
        <p:spPr>
          <a:xfrm>
            <a:off x="6077520" y="11880"/>
            <a:ext cx="6216120" cy="6857640"/>
          </a:xfrm>
          <a:prstGeom prst="rect">
            <a:avLst/>
          </a:prstGeom>
          <a:ln w="0">
            <a:noFill/>
          </a:ln>
        </p:spPr>
      </p:pic>
      <p:sp>
        <p:nvSpPr>
          <p:cNvPr id="427" name="PlaceHolder 42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sp>
        <p:nvSpPr>
          <p:cNvPr id="428" name="Текст 14"/>
          <p:cNvSpPr/>
          <p:nvPr/>
        </p:nvSpPr>
        <p:spPr>
          <a:xfrm>
            <a:off x="479520" y="2557850"/>
            <a:ext cx="5145840" cy="3958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Изменение подхода к разработке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Большой акцент на планировании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Средства контроля и проверки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1E45B2-A7CE-4408-B61D-C2F363E28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20377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Итоги</a:t>
            </a:r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PlaceHolder 44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pic>
        <p:nvPicPr>
          <p:cNvPr id="430" name="Рисунок 429"/>
          <p:cNvPicPr/>
          <p:nvPr/>
        </p:nvPicPr>
        <p:blipFill>
          <a:blip r:embed="rId2"/>
          <a:stretch/>
        </p:blipFill>
        <p:spPr>
          <a:xfrm>
            <a:off x="7187460" y="1739900"/>
            <a:ext cx="3841540" cy="3841540"/>
          </a:xfrm>
          <a:prstGeom prst="rect">
            <a:avLst/>
          </a:prstGeom>
          <a:ln w="0">
            <a:noFill/>
          </a:ln>
        </p:spPr>
      </p:pic>
      <p:sp>
        <p:nvSpPr>
          <p:cNvPr id="431" name="Текст 9"/>
          <p:cNvSpPr/>
          <p:nvPr/>
        </p:nvSpPr>
        <p:spPr>
          <a:xfrm>
            <a:off x="479520" y="1980000"/>
            <a:ext cx="5145840" cy="372865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Репозиторий проекта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Все ссылки найдете там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E8B351-E54B-4D06-A930-B9359CC74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Ссылки</a:t>
            </a:r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1420BE98-31CA-4D03-AA35-EFEFA0AA7D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15501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88B4AC1-0357-44DA-A1B5-815703A51D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5</a:t>
            </a:fld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0CC404D-F755-4EC9-810F-402205B03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04794"/>
            <a:ext cx="5148263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</a:rPr>
              <a:t>Инструментарий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4A1AC89-660C-4F3C-934E-0ABE1BD1DF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310640"/>
            <a:ext cx="5383213" cy="5043201"/>
          </a:xfrm>
        </p:spPr>
        <p:txBody>
          <a:bodyPr/>
          <a:lstStyle/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1C:EDT + платформа 1С:Предприятие</a:t>
            </a:r>
            <a:endParaRPr lang="ru-RU" sz="1800" spc="-1" dirty="0">
              <a:latin typeface="Arial"/>
            </a:endParaRPr>
          </a:p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IDE с поддержкой ИИ —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Cursor</a:t>
            </a:r>
            <a:endParaRPr lang="ru-RU" sz="1800" spc="-1" dirty="0">
              <a:latin typeface="Arial"/>
            </a:endParaRPr>
          </a:p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Помощники — MCP сервера</a:t>
            </a:r>
            <a:endParaRPr lang="ru-RU" sz="1800" spc="-1" dirty="0">
              <a:latin typeface="Arial"/>
            </a:endParaRPr>
          </a:p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YAxUnit</a:t>
            </a:r>
            <a:endParaRPr lang="ru-RU" sz="1800" spc="-1" dirty="0">
              <a:latin typeface="Arial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B2079FA-285B-43F9-A72C-9EED944E06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63D57A7-EADA-4E45-AF31-325A3B9FC46D}"/>
              </a:ext>
            </a:extLst>
          </p:cNvPr>
          <p:cNvPicPr/>
          <p:nvPr/>
        </p:nvPicPr>
        <p:blipFill rotWithShape="1">
          <a:blip r:embed="rId3"/>
          <a:srcRect l="6656" r="4247"/>
          <a:stretch/>
        </p:blipFill>
        <p:spPr>
          <a:xfrm>
            <a:off x="6084000" y="360"/>
            <a:ext cx="6108000" cy="685548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420430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EC39174-5477-493E-B54F-21F49BA8C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en-US" spc="-1" dirty="0">
                <a:solidFill>
                  <a:srgbClr val="192027"/>
                </a:solidFill>
                <a:latin typeface="Arial"/>
                <a:ea typeface="Roboto" panose="02000000000000000000" pitchFamily="2" charset="0"/>
              </a:rPr>
              <a:t>Cursor</a:t>
            </a:r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97342B6-44BF-461C-9B57-3B6DDCA05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6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82C858DF-C1ED-4673-AE5D-5EF28A0694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327150"/>
            <a:ext cx="5148263" cy="5026691"/>
          </a:xfrm>
        </p:spPr>
        <p:txBody>
          <a:bodyPr/>
          <a:lstStyle/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Language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1C (BSL)</a:t>
            </a:r>
            <a:endParaRPr lang="ru-RU" sz="1800" spc="-1" dirty="0">
              <a:latin typeface="Arial"/>
            </a:endParaRPr>
          </a:p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Markdown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All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in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One</a:t>
            </a:r>
            <a:endParaRPr lang="ru-RU" sz="1800" spc="-1" dirty="0">
              <a:latin typeface="Arial"/>
            </a:endParaRPr>
          </a:p>
          <a:p>
            <a:pPr lvl="1"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Markdown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Preview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Mermaid</a:t>
            </a:r>
            <a:r>
              <a:rPr lang="ru-RU" sz="1800" spc="-1" dirty="0">
                <a:solidFill>
                  <a:srgbClr val="192027"/>
                </a:solidFill>
                <a:ea typeface="Roboto" panose="02000000000000000000" pitchFamily="2" charset="0"/>
              </a:rPr>
              <a:t> </a:t>
            </a:r>
            <a:r>
              <a:rPr lang="ru-RU" sz="1800" spc="-1" dirty="0" err="1">
                <a:solidFill>
                  <a:srgbClr val="192027"/>
                </a:solidFill>
                <a:ea typeface="Roboto" panose="02000000000000000000" pitchFamily="2" charset="0"/>
              </a:rPr>
              <a:t>Support</a:t>
            </a:r>
            <a:endParaRPr lang="ru-RU" sz="1800" spc="-1" dirty="0">
              <a:latin typeface="Arial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5F393599-AC94-45F4-82FE-9ACDFBE9836E}"/>
              </a:ext>
            </a:extLst>
          </p:cNvPr>
          <p:cNvGrpSpPr/>
          <p:nvPr/>
        </p:nvGrpSpPr>
        <p:grpSpPr>
          <a:xfrm>
            <a:off x="4965573" y="1372364"/>
            <a:ext cx="6663342" cy="4580841"/>
            <a:chOff x="3847825" y="828000"/>
            <a:chExt cx="8041322" cy="552816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BBB52BEE-B6EE-4EE5-A72D-FE7DBC05199E}"/>
                </a:ext>
              </a:extLst>
            </p:cNvPr>
            <p:cNvPicPr/>
            <p:nvPr/>
          </p:nvPicPr>
          <p:blipFill>
            <a:blip r:embed="rId3"/>
            <a:srcRect b="1285"/>
            <a:stretch/>
          </p:blipFill>
          <p:spPr>
            <a:xfrm>
              <a:off x="3847825" y="828000"/>
              <a:ext cx="8041320" cy="5528160"/>
            </a:xfrm>
            <a:prstGeom prst="rect">
              <a:avLst/>
            </a:prstGeom>
            <a:gradFill>
              <a:gsLst>
                <a:gs pos="37000">
                  <a:srgbClr val="192027">
                    <a:lumMod val="90000"/>
                    <a:lumOff val="10000"/>
                  </a:srgbClr>
                </a:gs>
                <a:gs pos="100000">
                  <a:srgbClr val="ECEFF3">
                    <a:lumMod val="10000"/>
                  </a:srgbClr>
                </a:gs>
              </a:gsLst>
              <a:lin ang="3600000" scaled="0"/>
            </a:gradFill>
            <a:ln w="101600">
              <a:solidFill>
                <a:srgbClr val="C2D0DF"/>
              </a:solidFill>
              <a:round/>
            </a:ln>
          </p:spPr>
        </p:pic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C22111EC-D908-4A26-8F32-0C570049757B}"/>
                </a:ext>
              </a:extLst>
            </p:cNvPr>
            <p:cNvSpPr/>
            <p:nvPr/>
          </p:nvSpPr>
          <p:spPr>
            <a:xfrm>
              <a:off x="8388363" y="1101962"/>
              <a:ext cx="3500784" cy="5204379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</p:spTree>
    <p:extLst>
      <p:ext uri="{BB962C8B-B14F-4D97-AF65-F5344CB8AC3E}">
        <p14:creationId xmlns:p14="http://schemas.microsoft.com/office/powerpoint/2010/main" val="18026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Click="0" advTm="4000">
        <p:fade/>
      </p:transition>
    </mc:Choice>
    <mc:Fallback xmlns="">
      <p:transition advClick="0" advTm="400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PlaceHolder 18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grpSp>
        <p:nvGrpSpPr>
          <p:cNvPr id="260" name="Группа 259"/>
          <p:cNvGrpSpPr/>
          <p:nvPr/>
        </p:nvGrpSpPr>
        <p:grpSpPr>
          <a:xfrm>
            <a:off x="4865951" y="1346200"/>
            <a:ext cx="6750262" cy="4607006"/>
            <a:chOff x="3758928" y="823680"/>
            <a:chExt cx="8075160" cy="5511240"/>
          </a:xfrm>
        </p:grpSpPr>
        <p:pic>
          <p:nvPicPr>
            <p:cNvPr id="261" name="Рисунок 260"/>
            <p:cNvPicPr/>
            <p:nvPr/>
          </p:nvPicPr>
          <p:blipFill>
            <a:blip r:embed="rId3"/>
            <a:srcRect b="1295"/>
            <a:stretch/>
          </p:blipFill>
          <p:spPr>
            <a:xfrm>
              <a:off x="3758928" y="823680"/>
              <a:ext cx="8075160" cy="5511240"/>
            </a:xfrm>
            <a:prstGeom prst="rect">
              <a:avLst/>
            </a:prstGeom>
            <a:gradFill>
              <a:gsLst>
                <a:gs pos="37000">
                  <a:srgbClr val="192027">
                    <a:lumMod val="90000"/>
                    <a:lumOff val="10000"/>
                  </a:srgbClr>
                </a:gs>
                <a:gs pos="100000">
                  <a:srgbClr val="ECEFF3">
                    <a:lumMod val="10000"/>
                  </a:srgbClr>
                </a:gs>
              </a:gsLst>
              <a:lin ang="3600000" scaled="0"/>
            </a:gradFill>
            <a:ln w="101600">
              <a:solidFill>
                <a:srgbClr val="C2D0DF"/>
              </a:solidFill>
              <a:round/>
            </a:ln>
          </p:spPr>
        </p:pic>
        <p:sp>
          <p:nvSpPr>
            <p:cNvPr id="262" name="Прямоугольник 261"/>
            <p:cNvSpPr/>
            <p:nvPr/>
          </p:nvSpPr>
          <p:spPr>
            <a:xfrm>
              <a:off x="8739528" y="2017080"/>
              <a:ext cx="1732220" cy="1978440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263" name="PlaceHolder 33"/>
          <p:cNvSpPr/>
          <p:nvPr/>
        </p:nvSpPr>
        <p:spPr>
          <a:xfrm>
            <a:off x="479520" y="1317662"/>
            <a:ext cx="5145840" cy="502598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Большой выбор моделей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Правила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Индексация проекта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4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  <a:ea typeface="Roboto" panose="02000000000000000000" pitchFamily="2" charset="0"/>
              </a:rPr>
              <a:t>Подключение MCP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10000"/>
              </a:lnSpc>
              <a:spcAft>
                <a:spcPts val="601"/>
              </a:spcAft>
              <a:buNone/>
              <a:tabLst>
                <a:tab pos="449280" algn="l"/>
              </a:tabLst>
            </a:pPr>
            <a:endParaRPr lang="ru-RU" sz="1800" b="0" strike="noStrike" spc="-1" dirty="0">
              <a:latin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74B4E5E-AB8B-4635-9A4E-4991E7EE0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769475" cy="563231"/>
          </a:xfrm>
        </p:spPr>
        <p:txBody>
          <a:bodyPr/>
          <a:lstStyle/>
          <a:p>
            <a:r>
              <a:rPr lang="en-US" spc="-1" dirty="0">
                <a:solidFill>
                  <a:srgbClr val="192027"/>
                </a:solidFill>
                <a:latin typeface="Arial"/>
                <a:ea typeface="Roboto" panose="02000000000000000000" pitchFamily="2" charset="0"/>
              </a:rPr>
              <a:t>Cursor</a:t>
            </a:r>
            <a:endParaRPr lang="ru-RU" dirty="0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EFE42386-6C15-44F8-8DAB-F7D63B8812C6}"/>
              </a:ext>
            </a:extLst>
          </p:cNvPr>
          <p:cNvSpPr txBox="1">
            <a:spLocks/>
          </p:cNvSpPr>
          <p:nvPr/>
        </p:nvSpPr>
        <p:spPr>
          <a:xfrm>
            <a:off x="9067895" y="63538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89B92D-EFBE-40E3-AEE8-C63E39E4C06C}" type="slidenum">
              <a:rPr lang="ru-RU"/>
              <a:pPr/>
              <a:t>7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E8561D-614B-4A26-8541-DE50B48E3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Подготовка</a:t>
            </a:r>
            <a:endParaRPr lang="ru-RU" dirty="0"/>
          </a:p>
        </p:txBody>
      </p:sp>
      <p:sp>
        <p:nvSpPr>
          <p:cNvPr id="264" name="PlaceHolder 1"/>
          <p:cNvSpPr>
            <a:spLocks noGrp="1"/>
          </p:cNvSpPr>
          <p:nvPr>
            <p:ph idx="4294967295"/>
          </p:nvPr>
        </p:nvSpPr>
        <p:spPr>
          <a:xfrm>
            <a:off x="485774" y="1295401"/>
            <a:ext cx="5146675" cy="504825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</a:rPr>
              <a:t>Техническое описание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3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</a:rPr>
              <a:t>Бизнес логика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265" name="PlaceHolder 11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grpSp>
        <p:nvGrpSpPr>
          <p:cNvPr id="266" name="Группа 265"/>
          <p:cNvGrpSpPr/>
          <p:nvPr/>
        </p:nvGrpSpPr>
        <p:grpSpPr>
          <a:xfrm>
            <a:off x="4090870" y="2695050"/>
            <a:ext cx="7497879" cy="2042050"/>
            <a:chOff x="6300000" y="1152000"/>
            <a:chExt cx="5546386" cy="1510560"/>
          </a:xfrm>
        </p:grpSpPr>
        <p:pic>
          <p:nvPicPr>
            <p:cNvPr id="267" name="Рисунок 266"/>
            <p:cNvPicPr/>
            <p:nvPr/>
          </p:nvPicPr>
          <p:blipFill rotWithShape="1">
            <a:blip r:embed="rId4"/>
            <a:srcRect r="1391"/>
            <a:stretch/>
          </p:blipFill>
          <p:spPr>
            <a:xfrm>
              <a:off x="6300000" y="1152000"/>
              <a:ext cx="5546386" cy="1510560"/>
            </a:xfrm>
            <a:prstGeom prst="rect">
              <a:avLst/>
            </a:prstGeom>
            <a:gradFill>
              <a:gsLst>
                <a:gs pos="37000">
                  <a:srgbClr val="192027">
                    <a:lumMod val="90000"/>
                    <a:lumOff val="10000"/>
                  </a:srgbClr>
                </a:gs>
                <a:gs pos="100000">
                  <a:srgbClr val="ECEFF3">
                    <a:lumMod val="10000"/>
                  </a:srgbClr>
                </a:gs>
              </a:gsLst>
              <a:lin ang="3600000" scaled="0"/>
            </a:gradFill>
            <a:ln w="101600">
              <a:solidFill>
                <a:srgbClr val="C2D0DF"/>
              </a:solidFill>
              <a:round/>
            </a:ln>
          </p:spPr>
        </p:pic>
        <p:sp>
          <p:nvSpPr>
            <p:cNvPr id="268" name="Прямая соединительная линия 267"/>
            <p:cNvSpPr/>
            <p:nvPr/>
          </p:nvSpPr>
          <p:spPr>
            <a:xfrm>
              <a:off x="7128000" y="2016000"/>
              <a:ext cx="2016000" cy="360"/>
            </a:xfrm>
            <a:prstGeom prst="line">
              <a:avLst/>
            </a:prstGeom>
            <a:ln w="19080">
              <a:solidFill>
                <a:srgbClr val="C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CAA8377C-F0E1-4390-B173-C30E5996FC4C}"/>
              </a:ext>
            </a:extLst>
          </p:cNvPr>
          <p:cNvSpPr txBox="1">
            <a:spLocks/>
          </p:cNvSpPr>
          <p:nvPr/>
        </p:nvSpPr>
        <p:spPr>
          <a:xfrm>
            <a:off x="9067895" y="63538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89B92D-EFBE-40E3-AEE8-C63E39E4C06C}" type="slidenum">
              <a:rPr lang="ru-RU"/>
              <a:pPr/>
              <a:t>8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A6C1D36-98E9-4475-A379-17CA72E3F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904794"/>
            <a:ext cx="9805999" cy="563231"/>
          </a:xfrm>
        </p:spPr>
        <p:txBody>
          <a:bodyPr/>
          <a:lstStyle/>
          <a:p>
            <a:r>
              <a:rPr lang="ru-RU" spc="-1" dirty="0">
                <a:solidFill>
                  <a:srgbClr val="192027"/>
                </a:solidFill>
                <a:ea typeface="Roboto" panose="02000000000000000000" pitchFamily="2" charset="0"/>
              </a:rPr>
              <a:t>Подготовка</a:t>
            </a:r>
            <a:endParaRPr lang="ru-RU" dirty="0"/>
          </a:p>
        </p:txBody>
      </p:sp>
      <p:sp>
        <p:nvSpPr>
          <p:cNvPr id="270" name="PlaceHolder 1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spcAft>
                <a:spcPts val="700"/>
              </a:spcAft>
              <a:buNone/>
              <a:tabLst>
                <a:tab pos="0" algn="l"/>
              </a:tabLst>
            </a:pP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</a:rPr>
              <a:t>Техническое описание</a:t>
            </a:r>
            <a:endParaRPr lang="ru-RU" sz="1800" b="0" strike="noStrike" spc="-1" dirty="0">
              <a:latin typeface="Arial"/>
            </a:endParaRPr>
          </a:p>
          <a:p>
            <a:pPr marL="180000" lvl="1" indent="-180000">
              <a:lnSpc>
                <a:spcPct val="110000"/>
              </a:lnSpc>
              <a:spcAft>
                <a:spcPts val="601"/>
              </a:spcAft>
              <a:buSzPct val="100112"/>
              <a:buBlip>
                <a:blip r:embed="rId2"/>
              </a:buBlip>
              <a:tabLst>
                <a:tab pos="449280" algn="l"/>
              </a:tabLst>
            </a:pPr>
            <a:r>
              <a:rPr lang="ru-RU" sz="1800" b="0" strike="noStrike" spc="-1" dirty="0">
                <a:solidFill>
                  <a:srgbClr val="192027"/>
                </a:solidFill>
                <a:latin typeface="Roboto"/>
              </a:rPr>
              <a:t>Бизнес логика</a:t>
            </a:r>
            <a:endParaRPr lang="ru-RU" sz="1800" b="0" strike="noStrike" spc="-1" dirty="0">
              <a:latin typeface="Arial"/>
            </a:endParaRPr>
          </a:p>
        </p:txBody>
      </p:sp>
      <p:sp>
        <p:nvSpPr>
          <p:cNvPr id="271" name="PlaceHolder 17"/>
          <p:cNvSpPr/>
          <p:nvPr/>
        </p:nvSpPr>
        <p:spPr>
          <a:xfrm>
            <a:off x="479520" y="428400"/>
            <a:ext cx="9803520" cy="1031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90000" bIns="45000" anchor="b">
            <a:noAutofit/>
          </a:bodyPr>
          <a:lstStyle/>
          <a:p>
            <a:pPr>
              <a:lnSpc>
                <a:spcPct val="85000"/>
              </a:lnSpc>
              <a:buNone/>
            </a:pPr>
            <a:endParaRPr lang="ru-RU" sz="3600" b="0" strike="noStrike" spc="-1" dirty="0">
              <a:latin typeface="Arial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17C96CB-E4F0-4C92-A69A-2D1A5B085FD5}"/>
              </a:ext>
            </a:extLst>
          </p:cNvPr>
          <p:cNvGrpSpPr/>
          <p:nvPr/>
        </p:nvGrpSpPr>
        <p:grpSpPr>
          <a:xfrm>
            <a:off x="5381279" y="769753"/>
            <a:ext cx="4170263" cy="5183453"/>
            <a:chOff x="6623999" y="216000"/>
            <a:chExt cx="5110560" cy="6352200"/>
          </a:xfrm>
        </p:grpSpPr>
        <p:sp>
          <p:nvSpPr>
            <p:cNvPr id="269" name="Прямоугольник 268"/>
            <p:cNvSpPr/>
            <p:nvPr/>
          </p:nvSpPr>
          <p:spPr>
            <a:xfrm>
              <a:off x="6623999" y="216000"/>
              <a:ext cx="5110560" cy="6352200"/>
            </a:xfrm>
            <a:prstGeom prst="rect">
              <a:avLst/>
            </a:prstGeom>
            <a:blipFill rotWithShape="0">
              <a:blip r:embed="rId3"/>
              <a:srcRect/>
              <a:stretch/>
            </a:blipFill>
            <a:ln w="101600">
              <a:solidFill>
                <a:srgbClr val="C2D0DF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72" name="Прямоугольник 271"/>
            <p:cNvSpPr/>
            <p:nvPr/>
          </p:nvSpPr>
          <p:spPr>
            <a:xfrm>
              <a:off x="6660000" y="720000"/>
              <a:ext cx="5038560" cy="1078560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73" name="Прямоугольник 272"/>
            <p:cNvSpPr/>
            <p:nvPr/>
          </p:nvSpPr>
          <p:spPr>
            <a:xfrm>
              <a:off x="6660000" y="2304000"/>
              <a:ext cx="5038560" cy="1078560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74" name="Прямоугольник 273"/>
            <p:cNvSpPr/>
            <p:nvPr/>
          </p:nvSpPr>
          <p:spPr>
            <a:xfrm>
              <a:off x="6660000" y="4824000"/>
              <a:ext cx="5038560" cy="1726560"/>
            </a:xfrm>
            <a:prstGeom prst="rect">
              <a:avLst/>
            </a:prstGeom>
            <a:noFill/>
            <a:ln w="38100">
              <a:solidFill>
                <a:srgbClr val="C00000"/>
              </a:solidFill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B8F4D855-A7C4-488E-9BF2-4BDB4DD40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95" y="6353841"/>
            <a:ext cx="2743200" cy="365125"/>
          </a:xfrm>
        </p:spPr>
        <p:txBody>
          <a:bodyPr/>
          <a:lstStyle/>
          <a:p>
            <a:pPr>
              <a:defRPr/>
            </a:pPr>
            <a:fld id="{6A89B92D-EFBE-40E3-AEE8-C63E39E4C06C}" type="slidenum">
              <a:rPr lang="ru-RU" smtClean="0"/>
              <a:t>9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 advTm="4000">
        <p:fade/>
      </p:transition>
    </mc:Choice>
    <mc:Fallback xmlns:p15="http://schemas.microsoft.com/office/powerpoint/2012/main" xmlns="">
      <p:transition advTm="4000">
        <p:fade/>
      </p:transition>
    </mc:Fallback>
  </mc:AlternateContent>
</p:sld>
</file>

<file path=ppt/theme/theme1.xml><?xml version="1.0" encoding="utf-8"?>
<a:theme xmlns:a="http://schemas.openxmlformats.org/drawingml/2006/main" name="Много текста">
  <a:themeElements>
    <a:clrScheme name="Другая 5">
      <a:dk1>
        <a:srgbClr val="192027"/>
      </a:dk1>
      <a:lt1>
        <a:srgbClr val="FFFFFF"/>
      </a:lt1>
      <a:dk2>
        <a:srgbClr val="000000"/>
      </a:dk2>
      <a:lt2>
        <a:srgbClr val="ECEFF3"/>
      </a:lt2>
      <a:accent1>
        <a:srgbClr val="D22630"/>
      </a:accent1>
      <a:accent2>
        <a:srgbClr val="ECEFF3"/>
      </a:accent2>
      <a:accent3>
        <a:srgbClr val="CEDBEA"/>
      </a:accent3>
      <a:accent4>
        <a:srgbClr val="AFC4DD"/>
      </a:accent4>
      <a:accent5>
        <a:srgbClr val="21354D"/>
      </a:accent5>
      <a:accent6>
        <a:srgbClr val="2F78E3"/>
      </a:accent6>
      <a:hlink>
        <a:srgbClr val="2F78E3"/>
      </a:hlink>
      <a:folHlink>
        <a:srgbClr val="7751D7"/>
      </a:folHlink>
    </a:clrScheme>
    <a:fontScheme name="Другая 2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Мало текста и картинка">
  <a:themeElements>
    <a:clrScheme name="Другая 5">
      <a:dk1>
        <a:srgbClr val="192027"/>
      </a:dk1>
      <a:lt1>
        <a:srgbClr val="FFFFFF"/>
      </a:lt1>
      <a:dk2>
        <a:srgbClr val="000000"/>
      </a:dk2>
      <a:lt2>
        <a:srgbClr val="ECEFF3"/>
      </a:lt2>
      <a:accent1>
        <a:srgbClr val="D22630"/>
      </a:accent1>
      <a:accent2>
        <a:srgbClr val="ECEFF3"/>
      </a:accent2>
      <a:accent3>
        <a:srgbClr val="CEDBEA"/>
      </a:accent3>
      <a:accent4>
        <a:srgbClr val="AFC4DD"/>
      </a:accent4>
      <a:accent5>
        <a:srgbClr val="21354D"/>
      </a:accent5>
      <a:accent6>
        <a:srgbClr val="2F78E3"/>
      </a:accent6>
      <a:hlink>
        <a:srgbClr val="2F78E3"/>
      </a:hlink>
      <a:folHlink>
        <a:srgbClr val="7751D7"/>
      </a:folHlink>
    </a:clrScheme>
    <a:fontScheme name="Другая 2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Обложки и шмуцы">
  <a:themeElements>
    <a:clrScheme name="Другая 1">
      <a:dk1>
        <a:srgbClr val="192027"/>
      </a:dk1>
      <a:lt1>
        <a:srgbClr val="ECEFF3"/>
      </a:lt1>
      <a:dk2>
        <a:srgbClr val="000000"/>
      </a:dk2>
      <a:lt2>
        <a:srgbClr val="FFFFFF"/>
      </a:lt2>
      <a:accent1>
        <a:srgbClr val="D22630"/>
      </a:accent1>
      <a:accent2>
        <a:srgbClr val="ECEFF3"/>
      </a:accent2>
      <a:accent3>
        <a:srgbClr val="CEDBEA"/>
      </a:accent3>
      <a:accent4>
        <a:srgbClr val="AFC4DD"/>
      </a:accent4>
      <a:accent5>
        <a:srgbClr val="21354D"/>
      </a:accent5>
      <a:accent6>
        <a:srgbClr val="0061B9"/>
      </a:accent6>
      <a:hlink>
        <a:srgbClr val="480091"/>
      </a:hlink>
      <a:folHlink>
        <a:srgbClr val="00843C"/>
      </a:folHlink>
    </a:clrScheme>
    <a:fontScheme name="Другая 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 dirty="0"/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биа</Template>
  <TotalTime>252959</TotalTime>
  <Words>1069</Words>
  <Application>Microsoft Office PowerPoint</Application>
  <DocSecurity>0</DocSecurity>
  <PresentationFormat>Широкоэкранный</PresentationFormat>
  <Paragraphs>272</Paragraphs>
  <Slides>45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5</vt:i4>
      </vt:variant>
    </vt:vector>
  </HeadingPairs>
  <TitlesOfParts>
    <vt:vector size="53" baseType="lpstr">
      <vt:lpstr>Calibri</vt:lpstr>
      <vt:lpstr>Segoe UI</vt:lpstr>
      <vt:lpstr>Arial</vt:lpstr>
      <vt:lpstr>Roboto</vt:lpstr>
      <vt:lpstr>Много текста</vt:lpstr>
      <vt:lpstr>Мало текста и картинка</vt:lpstr>
      <vt:lpstr>Обложки и шмуцы</vt:lpstr>
      <vt:lpstr>oleObj</vt:lpstr>
      <vt:lpstr>Поезд LLM набирает ход, пора запрыгивать</vt:lpstr>
      <vt:lpstr>Алексей Корякин</vt:lpstr>
      <vt:lpstr>Дисклеймер</vt:lpstr>
      <vt:lpstr>Задача</vt:lpstr>
      <vt:lpstr>Инструментарий</vt:lpstr>
      <vt:lpstr>Cursor</vt:lpstr>
      <vt:lpstr>Cursor</vt:lpstr>
      <vt:lpstr>Подготовка</vt:lpstr>
      <vt:lpstr>Подготовка</vt:lpstr>
      <vt:lpstr>Подготовка</vt:lpstr>
      <vt:lpstr>Переходим к задаче </vt:lpstr>
      <vt:lpstr>Формирование ТЗ</vt:lpstr>
      <vt:lpstr>Формирование ТЗ</vt:lpstr>
      <vt:lpstr>Формирование ТЗ</vt:lpstr>
      <vt:lpstr>Формирование ТЗ</vt:lpstr>
      <vt:lpstr>Формирование ТЗ</vt:lpstr>
      <vt:lpstr>Формирование ТЗ</vt:lpstr>
      <vt:lpstr>Формирование ТЗ</vt:lpstr>
      <vt:lpstr>Архитектура</vt:lpstr>
      <vt:lpstr>Архитектура</vt:lpstr>
      <vt:lpstr>План реализации</vt:lpstr>
      <vt:lpstr>План реализации</vt:lpstr>
      <vt:lpstr>План реализации</vt:lpstr>
      <vt:lpstr>Презентация PowerPoint</vt:lpstr>
      <vt:lpstr>План реализации</vt:lpstr>
      <vt:lpstr>Реализация</vt:lpstr>
      <vt:lpstr>Реализация</vt:lpstr>
      <vt:lpstr>Реализация</vt:lpstr>
      <vt:lpstr>Реализация</vt:lpstr>
      <vt:lpstr>Реализация</vt:lpstr>
      <vt:lpstr>Реализация</vt:lpstr>
      <vt:lpstr>Реализация</vt:lpstr>
      <vt:lpstr>Реализация</vt:lpstr>
      <vt:lpstr>Реализация</vt:lpstr>
      <vt:lpstr>Реализация</vt:lpstr>
      <vt:lpstr>Реализация</vt:lpstr>
      <vt:lpstr>Тестирование</vt:lpstr>
      <vt:lpstr>Тестирование</vt:lpstr>
      <vt:lpstr>Презентация PowerPoint</vt:lpstr>
      <vt:lpstr>Тестирование</vt:lpstr>
      <vt:lpstr>Тестирование</vt:lpstr>
      <vt:lpstr>Тестирование</vt:lpstr>
      <vt:lpstr>Итоги</vt:lpstr>
      <vt:lpstr>Ссылки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А – ДЛ   Февраль 2023</dc:title>
  <dc:subject/>
  <dc:creator>Болгаров Андрей Алексеевич</dc:creator>
  <cp:keywords/>
  <dc:description/>
  <cp:lastModifiedBy>Корякин Алексей Викторович</cp:lastModifiedBy>
  <cp:revision>1807</cp:revision>
  <dcterms:created xsi:type="dcterms:W3CDTF">2023-03-20T17:45:14Z</dcterms:created>
  <dcterms:modified xsi:type="dcterms:W3CDTF">2025-09-17T21:47:23Z</dcterms:modified>
  <cp:category/>
  <dc:identifier/>
  <cp:contentStatus/>
  <dc:language/>
  <cp:version/>
</cp:coreProperties>
</file>